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58" r:id="rId2"/>
    <p:sldId id="1804" r:id="rId3"/>
    <p:sldId id="1802" r:id="rId4"/>
    <p:sldId id="260" r:id="rId5"/>
    <p:sldId id="25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50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0" autoAdjust="0"/>
    <p:restoredTop sz="94660"/>
  </p:normalViewPr>
  <p:slideViewPr>
    <p:cSldViewPr snapToGrid="0">
      <p:cViewPr varScale="1">
        <p:scale>
          <a:sx n="86" d="100"/>
          <a:sy n="86" d="100"/>
        </p:scale>
        <p:origin x="538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E0776F-3737-49AB-B399-E47863587BC1}" type="datetimeFigureOut">
              <a:rPr lang="en-US" smtClean="0"/>
              <a:t>11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8C97DB-15E6-467A-9476-C2B766256A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733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9BC003-10B8-40D7-8BDF-C5681B0361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2606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9BC003-10B8-40D7-8BDF-C5681B0361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6055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600200"/>
            <a:ext cx="12192000" cy="1600200"/>
          </a:xfrm>
          <a:prstGeom prst="rect">
            <a:avLst/>
          </a:prstGeom>
          <a:solidFill>
            <a:srgbClr val="243B65"/>
          </a:solidFill>
        </p:spPr>
        <p:txBody>
          <a:bodyPr/>
          <a:lstStyle>
            <a:lvl1pPr marL="228600"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428999"/>
            <a:ext cx="8534400" cy="1828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rgbClr val="001E4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71432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7"/>
          <p:cNvSpPr>
            <a:spLocks noChangeArrowheads="1"/>
          </p:cNvSpPr>
          <p:nvPr userDrawn="1"/>
        </p:nvSpPr>
        <p:spPr bwMode="gray">
          <a:xfrm>
            <a:off x="0" y="0"/>
            <a:ext cx="12192000" cy="1010094"/>
          </a:xfrm>
          <a:prstGeom prst="rect">
            <a:avLst/>
          </a:prstGeom>
          <a:solidFill>
            <a:srgbClr val="243B65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231775" defTabSz="457200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srgbClr val="1F497D"/>
              </a:solidFill>
              <a:latin typeface="Arial" pitchFamily="127" charset="0"/>
              <a:ea typeface="ＭＳ Ｐゴシック" pitchFamily="127" charset="-128"/>
              <a:cs typeface="ＭＳ Ｐゴシック" pitchFamily="127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00807"/>
            <a:ext cx="109728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491AC27-7BAE-4683-A480-F12759E9A372}"/>
              </a:ext>
            </a:extLst>
          </p:cNvPr>
          <p:cNvSpPr txBox="1">
            <a:spLocks/>
          </p:cNvSpPr>
          <p:nvPr userDrawn="1"/>
        </p:nvSpPr>
        <p:spPr>
          <a:xfrm>
            <a:off x="304800" y="39189"/>
            <a:ext cx="115824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E2681361-9F7C-4377-99C5-E2D3DE6F5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9189"/>
            <a:ext cx="115824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21C3CCB-8452-447D-9F7C-EB15761AA1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2861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8E8E8E"/>
                </a:solidFill>
              </a:defRPr>
            </a:lvl1pPr>
          </a:lstStyle>
          <a:p>
            <a:fld id="{5E2B9958-4384-47D0-A46C-4FC8FC7935A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3672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1582400" cy="9144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52007"/>
            <a:ext cx="53848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52007"/>
            <a:ext cx="53848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3FE13DD3-CA9F-4018-9A21-3C135397F0F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0" y="-1"/>
            <a:ext cx="12192000" cy="1142999"/>
          </a:xfrm>
          <a:prstGeom prst="rect">
            <a:avLst/>
          </a:prstGeom>
          <a:solidFill>
            <a:srgbClr val="243B65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231775" defTabSz="457200" fontAlgn="base">
              <a:spcBef>
                <a:spcPct val="0"/>
              </a:spcBef>
              <a:spcAft>
                <a:spcPct val="0"/>
              </a:spcAft>
            </a:pPr>
            <a:endParaRPr lang="en-US" sz="4400" dirty="0">
              <a:solidFill>
                <a:srgbClr val="1F497D"/>
              </a:solidFill>
              <a:latin typeface="Arial" pitchFamily="127" charset="0"/>
              <a:ea typeface="ＭＳ Ｐゴシック" pitchFamily="127" charset="-128"/>
              <a:cs typeface="ＭＳ Ｐゴシック" pitchFamily="127" charset="-128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775AB6A-F7D7-4748-ACBB-F4DF1E4F2555}"/>
              </a:ext>
            </a:extLst>
          </p:cNvPr>
          <p:cNvSpPr txBox="1">
            <a:spLocks/>
          </p:cNvSpPr>
          <p:nvPr userDrawn="1"/>
        </p:nvSpPr>
        <p:spPr>
          <a:xfrm>
            <a:off x="304800" y="39189"/>
            <a:ext cx="115824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39943AF-09CA-4F39-9A82-62E7A96BE561}"/>
              </a:ext>
            </a:extLst>
          </p:cNvPr>
          <p:cNvSpPr txBox="1">
            <a:spLocks/>
          </p:cNvSpPr>
          <p:nvPr userDrawn="1"/>
        </p:nvSpPr>
        <p:spPr>
          <a:xfrm>
            <a:off x="457200" y="152400"/>
            <a:ext cx="115824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B6B7B32-6C92-4583-9A57-F285CD14F3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2861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8E8E8E"/>
                </a:solidFill>
              </a:defRPr>
            </a:lvl1pPr>
          </a:lstStyle>
          <a:p>
            <a:fld id="{5E2B9958-4384-47D0-A46C-4FC8FC7935A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4583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213803" y="6356351"/>
            <a:ext cx="737191" cy="365125"/>
          </a:xfrm>
        </p:spPr>
        <p:txBody>
          <a:bodyPr/>
          <a:lstStyle/>
          <a:p>
            <a:fld id="{89C7CF46-BC06-4D2D-A159-43A8891BFA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491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61EA97-C1FB-F74D-1AFE-DD54ACA90890}"/>
              </a:ext>
            </a:extLst>
          </p:cNvPr>
          <p:cNvSpPr/>
          <p:nvPr userDrawn="1"/>
        </p:nvSpPr>
        <p:spPr>
          <a:xfrm rot="10800000">
            <a:off x="0" y="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49000">
                <a:srgbClr val="022169">
                  <a:shade val="67500"/>
                  <a:satMod val="115000"/>
                </a:srgbClr>
              </a:gs>
              <a:gs pos="84000">
                <a:srgbClr val="022069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885095-3251-89CB-C14E-E7171E52A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1964" y="1886659"/>
            <a:ext cx="7162800" cy="1248208"/>
          </a:xfrm>
        </p:spPr>
        <p:txBody>
          <a:bodyPr anchor="b">
            <a:normAutofit/>
          </a:bodyPr>
          <a:lstStyle>
            <a:lvl1pPr>
              <a:defRPr sz="4000" b="1" i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884A8-8F50-7FC7-2125-E143438CF79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41963" y="3260217"/>
            <a:ext cx="7162800" cy="124695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300"/>
              </a:spcBef>
              <a:buNone/>
              <a:defRPr sz="24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Name and Designation</a:t>
            </a:r>
          </a:p>
          <a:p>
            <a:pPr lvl="0"/>
            <a:r>
              <a:rPr lang="en-US"/>
              <a:t>Organization</a:t>
            </a:r>
          </a:p>
          <a:p>
            <a:pPr lvl="0"/>
            <a:r>
              <a:rPr lang="en-US"/>
              <a:t>Dat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305A01A-91F6-41FD-A323-96F11FA6F8E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082270" y="2406331"/>
            <a:ext cx="0" cy="21012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A109FD5-109A-FDDB-314F-296DE4C8D050}"/>
              </a:ext>
            </a:extLst>
          </p:cNvPr>
          <p:cNvSpPr txBox="1"/>
          <p:nvPr userDrawn="1"/>
        </p:nvSpPr>
        <p:spPr>
          <a:xfrm>
            <a:off x="1458192" y="5014024"/>
            <a:ext cx="92756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baseline="0">
                <a:solidFill>
                  <a:schemeClr val="bg1"/>
                </a:solidFill>
                <a:latin typeface="Century Gothic" panose="020B0502020202020204" pitchFamily="34" charset="0"/>
              </a:rPr>
              <a:t>CQUIN 7</a:t>
            </a:r>
            <a:r>
              <a:rPr lang="en-US" sz="2000" b="1" baseline="30000">
                <a:solidFill>
                  <a:schemeClr val="bg1"/>
                </a:solidFill>
                <a:latin typeface="Century Gothic" panose="020B0502020202020204" pitchFamily="34" charset="0"/>
              </a:rPr>
              <a:t>th</a:t>
            </a:r>
            <a:r>
              <a:rPr lang="en-US" sz="2000" b="1" baseline="0">
                <a:solidFill>
                  <a:schemeClr val="bg1"/>
                </a:solidFill>
                <a:latin typeface="Century Gothic" panose="020B0502020202020204" pitchFamily="34" charset="0"/>
              </a:rPr>
              <a:t> Annual Meeting</a:t>
            </a:r>
          </a:p>
          <a:p>
            <a:pPr algn="ctr"/>
            <a:r>
              <a:rPr lang="en-US" sz="2000" baseline="0">
                <a:solidFill>
                  <a:schemeClr val="bg1"/>
                </a:solidFill>
                <a:latin typeface="+mn-lt"/>
              </a:rPr>
              <a:t>November 13 – 17, 2023 | Johannesburg, South Africa</a:t>
            </a:r>
          </a:p>
          <a:p>
            <a:endParaRPr lang="en-US" sz="2000" baseline="0">
              <a:solidFill>
                <a:schemeClr val="bg1"/>
              </a:solidFill>
            </a:endParaRPr>
          </a:p>
        </p:txBody>
      </p:sp>
      <p:pic>
        <p:nvPicPr>
          <p:cNvPr id="7" name="Picture 6" descr="A close-up of logos&#10;&#10;Description automatically generated">
            <a:extLst>
              <a:ext uri="{FF2B5EF4-FFF2-40B4-BE49-F238E27FC236}">
                <a16:creationId xmlns:a16="http://schemas.microsoft.com/office/drawing/2014/main" id="{BBF5E5A6-E704-4A77-B98F-0C4F2654A8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6069" t="3894" r="-1691" b="28843"/>
          <a:stretch/>
        </p:blipFill>
        <p:spPr>
          <a:xfrm>
            <a:off x="10171532" y="-116737"/>
            <a:ext cx="2180161" cy="167142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BE62C95-284A-A1E9-397D-1DBD2CC296FB}"/>
              </a:ext>
            </a:extLst>
          </p:cNvPr>
          <p:cNvSpPr txBox="1"/>
          <p:nvPr userDrawn="1"/>
        </p:nvSpPr>
        <p:spPr>
          <a:xfrm>
            <a:off x="10152882" y="1391447"/>
            <a:ext cx="3022257" cy="2535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800">
                <a:solidFill>
                  <a:schemeClr val="bg1"/>
                </a:solidFill>
                <a:latin typeface="Century Gothic" panose="020B0502020202020204" pitchFamily="34" charset="0"/>
              </a:rPr>
              <a:t>www.cquin.icap.columbia.edu</a:t>
            </a:r>
          </a:p>
        </p:txBody>
      </p:sp>
      <p:pic>
        <p:nvPicPr>
          <p:cNvPr id="12" name="Picture 11" descr="A group of flags in a row&#10;&#10;Description automatically generated">
            <a:extLst>
              <a:ext uri="{FF2B5EF4-FFF2-40B4-BE49-F238E27FC236}">
                <a16:creationId xmlns:a16="http://schemas.microsoft.com/office/drawing/2014/main" id="{08FA18B5-DAE6-4A5D-B567-FC03BB4A5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84888"/>
          <a:stretch/>
        </p:blipFill>
        <p:spPr>
          <a:xfrm>
            <a:off x="25522" y="5799652"/>
            <a:ext cx="12197656" cy="1036842"/>
          </a:xfrm>
          <a:prstGeom prst="rect">
            <a:avLst/>
          </a:prstGeom>
        </p:spPr>
      </p:pic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67BA1F5B-3F24-B0A4-28E9-5BE0EF992B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27" t="3894" r="44584" b="28843"/>
          <a:stretch/>
        </p:blipFill>
        <p:spPr>
          <a:xfrm>
            <a:off x="387339" y="-26185"/>
            <a:ext cx="2055944" cy="1601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493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7C0B78C7-C5AD-9DF1-173C-2F384849DA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C0939D3-8BCC-4347-00B4-A376B8601A85}"/>
              </a:ext>
            </a:extLst>
          </p:cNvPr>
          <p:cNvSpPr/>
          <p:nvPr userDrawn="1"/>
        </p:nvSpPr>
        <p:spPr>
          <a:xfrm rot="10800000">
            <a:off x="0" y="707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49000">
                <a:srgbClr val="022169">
                  <a:shade val="67500"/>
                  <a:satMod val="115000"/>
                </a:srgbClr>
              </a:gs>
              <a:gs pos="84000">
                <a:srgbClr val="022069"/>
              </a:gs>
            </a:gsLst>
            <a:path path="circle">
              <a:fillToRect l="100000" t="100000"/>
            </a:path>
            <a:tileRect r="-100000" b="-10000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94840D39-5C51-3C61-4643-816F9E2288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3089" b="32737"/>
          <a:stretch/>
        </p:blipFill>
        <p:spPr>
          <a:xfrm>
            <a:off x="10002782" y="-271462"/>
            <a:ext cx="2299522" cy="17145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4894A7E-AA0D-BDAB-E949-D6E608D1C044}"/>
              </a:ext>
            </a:extLst>
          </p:cNvPr>
          <p:cNvSpPr txBox="1"/>
          <p:nvPr userDrawn="1"/>
        </p:nvSpPr>
        <p:spPr>
          <a:xfrm>
            <a:off x="10149319" y="1423480"/>
            <a:ext cx="2912249" cy="259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800">
                <a:solidFill>
                  <a:schemeClr val="bg1"/>
                </a:solidFill>
                <a:latin typeface="Century Gothic" panose="020B0502020202020204" pitchFamily="34" charset="0"/>
              </a:rPr>
              <a:t>www.cquin.icap.columbia.edu</a:t>
            </a:r>
          </a:p>
        </p:txBody>
      </p:sp>
      <p:pic>
        <p:nvPicPr>
          <p:cNvPr id="7" name="Picture 6" descr="A group of flags in a row&#10;&#10;Description automatically generated">
            <a:extLst>
              <a:ext uri="{FF2B5EF4-FFF2-40B4-BE49-F238E27FC236}">
                <a16:creationId xmlns:a16="http://schemas.microsoft.com/office/drawing/2014/main" id="{142E1DDD-1193-5B3C-38DE-84EBF72EBB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84888"/>
          <a:stretch/>
        </p:blipFill>
        <p:spPr>
          <a:xfrm>
            <a:off x="25522" y="5799652"/>
            <a:ext cx="12197656" cy="1036842"/>
          </a:xfrm>
          <a:prstGeom prst="rect">
            <a:avLst/>
          </a:prstGeom>
        </p:spPr>
      </p:pic>
      <p:pic>
        <p:nvPicPr>
          <p:cNvPr id="8" name="Picture 7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C68537BA-7E15-6D29-C054-38A15673D1F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5522" y="41083"/>
            <a:ext cx="3910452" cy="203343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CBAA201-0679-C88E-8DCB-3BD4A09D1ED0}"/>
              </a:ext>
            </a:extLst>
          </p:cNvPr>
          <p:cNvSpPr txBox="1"/>
          <p:nvPr userDrawn="1"/>
        </p:nvSpPr>
        <p:spPr>
          <a:xfrm>
            <a:off x="4309197" y="2883047"/>
            <a:ext cx="51123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>
                <a:solidFill>
                  <a:schemeClr val="bg1"/>
                </a:solidFill>
                <a:latin typeface="Century Gothic" panose="020B0502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61319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w/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8EC02EE-9661-4A18-8A8F-B0942498E6ED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46000">
                <a:srgbClr val="022169">
                  <a:shade val="67500"/>
                  <a:satMod val="115000"/>
                </a:srgbClr>
              </a:gs>
              <a:gs pos="84000">
                <a:schemeClr val="tx2"/>
              </a:gs>
            </a:gsLst>
            <a:lin ang="7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880606FA-C36B-44EE-91CC-23E328C62D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8857" y="3681248"/>
            <a:ext cx="6387638" cy="96219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>
                    <a:lumMod val="9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B746CDD-D828-4CA9-922F-39CA5C1B8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858" y="1838673"/>
            <a:ext cx="6387639" cy="1827156"/>
          </a:xfrm>
        </p:spPr>
        <p:txBody>
          <a:bodyPr anchor="ctr">
            <a:noAutofit/>
          </a:bodyPr>
          <a:lstStyle>
            <a:lvl1pPr algn="l">
              <a:defRPr sz="5400" b="1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5496835-195E-E9F4-3CBE-7C62F6DAC96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95953" y="0"/>
            <a:ext cx="4696047" cy="6858000"/>
          </a:xfrm>
          <a:solidFill>
            <a:schemeClr val="bg1"/>
          </a:solidFill>
        </p:spPr>
        <p:txBody>
          <a:bodyPr anchor="ctr"/>
          <a:lstStyle>
            <a:lvl1pPr algn="ctr">
              <a:defRPr spc="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BE000DA9-8AAE-12BF-3F8C-20C28B210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527" t="3894" r="-1691" b="28843"/>
          <a:stretch/>
        </p:blipFill>
        <p:spPr>
          <a:xfrm>
            <a:off x="520732" y="5429322"/>
            <a:ext cx="2792797" cy="1071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13891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126"/>
            <a:ext cx="115824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42999"/>
            <a:ext cx="109728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80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lnSpc>
          <a:spcPct val="114000"/>
        </a:lnSpc>
        <a:spcBef>
          <a:spcPts val="600"/>
        </a:spcBef>
        <a:buSzPct val="90000"/>
        <a:buFont typeface="Wingdings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lnSpc>
          <a:spcPct val="114000"/>
        </a:lnSpc>
        <a:spcBef>
          <a:spcPts val="400"/>
        </a:spcBef>
        <a:buSzPct val="90000"/>
        <a:buFont typeface="Arial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ct val="114000"/>
        </a:lnSpc>
        <a:spcBef>
          <a:spcPts val="300"/>
        </a:spcBef>
        <a:buSzPct val="90000"/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ct val="114000"/>
        </a:lnSpc>
        <a:spcBef>
          <a:spcPts val="200"/>
        </a:spcBef>
        <a:buSzPct val="90000"/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ct val="114000"/>
        </a:lnSpc>
        <a:spcBef>
          <a:spcPts val="200"/>
        </a:spcBef>
        <a:buSzPct val="90000"/>
        <a:buFont typeface="Arial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194A7-28E9-5E50-2EFC-B01D8C0D1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8073" y="1626303"/>
            <a:ext cx="7162800" cy="1248208"/>
          </a:xfrm>
        </p:spPr>
        <p:txBody>
          <a:bodyPr/>
          <a:lstStyle/>
          <a:p>
            <a:r>
              <a:rPr lang="en-US" dirty="0"/>
              <a:t>AHD Toolkit Ap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D39257-BC1A-99B1-C0D8-E806B957C6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1964" y="2994517"/>
            <a:ext cx="7162800" cy="1644717"/>
          </a:xfrm>
        </p:spPr>
        <p:txBody>
          <a:bodyPr>
            <a:normAutofit lnSpcReduction="10000"/>
          </a:bodyPr>
          <a:lstStyle/>
          <a:p>
            <a:r>
              <a:rPr lang="en-US" dirty="0"/>
              <a:t>Ikechukwu Amamilo, Senior Technical Advisor</a:t>
            </a:r>
          </a:p>
          <a:p>
            <a:r>
              <a:rPr lang="en-US" dirty="0"/>
              <a:t>Williams Eigege, Regional Manager</a:t>
            </a:r>
          </a:p>
          <a:p>
            <a:endParaRPr lang="en-US" dirty="0"/>
          </a:p>
          <a:p>
            <a:r>
              <a:rPr lang="en-US" dirty="0"/>
              <a:t>Clinton Health Access Initiative</a:t>
            </a:r>
          </a:p>
        </p:txBody>
      </p:sp>
    </p:spTree>
    <p:extLst>
      <p:ext uri="{BB962C8B-B14F-4D97-AF65-F5344CB8AC3E}">
        <p14:creationId xmlns:p14="http://schemas.microsoft.com/office/powerpoint/2010/main" val="4777461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9189"/>
            <a:ext cx="12192000" cy="914400"/>
          </a:xfrm>
        </p:spPr>
        <p:txBody>
          <a:bodyPr>
            <a:noAutofit/>
          </a:bodyPr>
          <a:lstStyle/>
          <a:p>
            <a:r>
              <a:rPr lang="en-US" sz="2400" dirty="0"/>
              <a:t>With support from Unitaid, CHAI and the Infectious Diseases Institute Uganda developed a mobile application linked to the Global Advanced HIV Disease Toolkit (GAHDT) </a:t>
            </a:r>
            <a:endParaRPr lang="en-GB" sz="2400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2FC001C-EBE0-77A1-05DF-27BF614B5C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468219"/>
              </p:ext>
            </p:extLst>
          </p:nvPr>
        </p:nvGraphicFramePr>
        <p:xfrm>
          <a:off x="612958" y="2518480"/>
          <a:ext cx="8929338" cy="422602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781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8115">
                  <a:extLst>
                    <a:ext uri="{9D8B030D-6E8A-4147-A177-3AD203B41FA5}">
                      <a16:colId xmlns:a16="http://schemas.microsoft.com/office/drawing/2014/main" val="381130295"/>
                    </a:ext>
                  </a:extLst>
                </a:gridCol>
                <a:gridCol w="62130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5461">
                <a:tc gridSpan="3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endParaRPr lang="en-US" sz="14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400" b="0" i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87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/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Key Facts</a:t>
                      </a:r>
                    </a:p>
                  </a:txBody>
                  <a:tcPr anchor="ctr"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Summarizing AHD epidemiology data</a:t>
                      </a:r>
                      <a:endParaRPr lang="en-US" sz="1600" b="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571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Quick Search</a:t>
                      </a:r>
                      <a:endParaRPr lang="en-US" sz="16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To easily navigate the application and find key information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07003891"/>
                  </a:ext>
                </a:extLst>
              </a:tr>
              <a:tr h="39687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Calibri" panose="020F0502020204030204" pitchFamily="34" charset="0"/>
                        </a:rPr>
                        <a:t>Dosages &amp; Medica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Information on regimens for major AHD-related OI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704546"/>
                  </a:ext>
                </a:extLst>
              </a:tr>
              <a:tr h="46464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Key Guidelines</a:t>
                      </a:r>
                      <a:endParaRPr lang="en-US" sz="16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Key recommendations for prevention, diagnosis, and treatment for major AHD-related OIs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48951774"/>
                  </a:ext>
                </a:extLst>
              </a:tr>
              <a:tr h="39687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Training Resources</a:t>
                      </a:r>
                      <a:endParaRPr lang="en-US" sz="16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Featuring training slides, job aids, and demonstration videos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4922807"/>
                  </a:ext>
                </a:extLst>
              </a:tr>
              <a:tr h="46768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/>
                        <a:t>Case Series</a:t>
                      </a:r>
                      <a:endParaRPr lang="en-US" sz="16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Clinical AHD case presentations to engage and inform on the appropriate management of conditions 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08797606"/>
                  </a:ext>
                </a:extLst>
              </a:tr>
              <a:tr h="39687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Calibri" panose="020F0502020204030204" pitchFamily="34" charset="0"/>
                        </a:rPr>
                        <a:t>FAQ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Commonly asked questions and answers for HCW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5829524"/>
                  </a:ext>
                </a:extLst>
              </a:tr>
              <a:tr h="39687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latin typeface="Calibri" panose="020F0502020204030204" pitchFamily="34" charset="0"/>
                        </a:rPr>
                        <a:t>Glossa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Key terms defin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15528147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280FD510-1741-C42B-01A1-C3AAE40F9B8C}"/>
              </a:ext>
            </a:extLst>
          </p:cNvPr>
          <p:cNvSpPr txBox="1"/>
          <p:nvPr/>
        </p:nvSpPr>
        <p:spPr>
          <a:xfrm>
            <a:off x="347984" y="1090083"/>
            <a:ext cx="9194311" cy="15234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91440" bIns="91440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28508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AHD toolkit app: </a:t>
            </a:r>
          </a:p>
          <a:p>
            <a:pPr marL="742950" lvl="1" indent="-285750">
              <a:spcAft>
                <a:spcPts val="600"/>
              </a:spcAft>
              <a:buFont typeface="Calibri" panose="020F0502020204030204" pitchFamily="34" charset="0"/>
              <a:buChar char="‒"/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A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provide versatile support to frontline HCWs managing AHD </a:t>
            </a: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clients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742950" lvl="1" indent="-285750">
              <a:spcAft>
                <a:spcPts val="600"/>
              </a:spcAft>
              <a:buFont typeface="Calibri" panose="020F0502020204030204" pitchFamily="34" charset="0"/>
              <a:buChar char="‒"/>
              <a:defRPr/>
            </a:pPr>
            <a:r>
              <a:rPr lang="en-US" dirty="0">
                <a:solidFill>
                  <a:sysClr val="windowText" lastClr="000000"/>
                </a:solidFill>
                <a:latin typeface="Calibri" panose="020F0502020204030204"/>
              </a:rPr>
              <a:t>Built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support online and offline access</a:t>
            </a:r>
          </a:p>
          <a:p>
            <a:pPr marL="742950" lvl="1" indent="-285750">
              <a:spcAft>
                <a:spcPts val="600"/>
              </a:spcAft>
              <a:buFont typeface="Calibri" panose="020F0502020204030204" pitchFamily="34" charset="0"/>
              <a:buChar char="‒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ed using feedback from a survey of HCWs and partners.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F68A0E-4742-5B04-B1EC-2BD748BE224A}"/>
              </a:ext>
            </a:extLst>
          </p:cNvPr>
          <p:cNvSpPr txBox="1"/>
          <p:nvPr/>
        </p:nvSpPr>
        <p:spPr>
          <a:xfrm>
            <a:off x="9659837" y="1105542"/>
            <a:ext cx="2387443" cy="695961"/>
          </a:xfrm>
          <a:prstGeom prst="rect">
            <a:avLst/>
          </a:prstGeom>
          <a:solidFill>
            <a:srgbClr val="E2E2F6"/>
          </a:solidFill>
        </p:spPr>
        <p:txBody>
          <a:bodyPr wrap="square" tIns="91440" bIns="9144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H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olkit App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1BEFDE6-8041-8EC4-1D50-83768152B402}"/>
              </a:ext>
            </a:extLst>
          </p:cNvPr>
          <p:cNvSpPr/>
          <p:nvPr/>
        </p:nvSpPr>
        <p:spPr>
          <a:xfrm>
            <a:off x="351546" y="2978943"/>
            <a:ext cx="9194312" cy="372505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D7FCAEC-DA5D-2397-A0EF-7166623F6DE2}"/>
              </a:ext>
            </a:extLst>
          </p:cNvPr>
          <p:cNvGrpSpPr/>
          <p:nvPr/>
        </p:nvGrpSpPr>
        <p:grpSpPr>
          <a:xfrm>
            <a:off x="622091" y="3119576"/>
            <a:ext cx="347934" cy="3390622"/>
            <a:chOff x="431019" y="3244086"/>
            <a:chExt cx="347934" cy="3390622"/>
          </a:xfrm>
          <a:solidFill>
            <a:schemeClr val="accent1">
              <a:lumMod val="75000"/>
            </a:schemeClr>
          </a:solidFill>
        </p:grpSpPr>
        <p:sp>
          <p:nvSpPr>
            <p:cNvPr id="61" name="Freeform 24">
              <a:extLst>
                <a:ext uri="{FF2B5EF4-FFF2-40B4-BE49-F238E27FC236}">
                  <a16:creationId xmlns:a16="http://schemas.microsoft.com/office/drawing/2014/main" id="{A02DE15D-A000-DA69-A504-E4640976C8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404" y="4107145"/>
              <a:ext cx="225549" cy="220216"/>
            </a:xfrm>
            <a:custGeom>
              <a:avLst/>
              <a:gdLst>
                <a:gd name="T0" fmla="*/ 184 w 194"/>
                <a:gd name="T1" fmla="*/ 141 h 193"/>
                <a:gd name="T2" fmla="*/ 69 w 194"/>
                <a:gd name="T3" fmla="*/ 26 h 193"/>
                <a:gd name="T4" fmla="*/ 62 w 194"/>
                <a:gd name="T5" fmla="*/ 6 h 193"/>
                <a:gd name="T6" fmla="*/ 58 w 194"/>
                <a:gd name="T7" fmla="*/ 1 h 193"/>
                <a:gd name="T8" fmla="*/ 52 w 194"/>
                <a:gd name="T9" fmla="*/ 2 h 193"/>
                <a:gd name="T10" fmla="*/ 51 w 194"/>
                <a:gd name="T11" fmla="*/ 2 h 193"/>
                <a:gd name="T12" fmla="*/ 3 w 194"/>
                <a:gd name="T13" fmla="*/ 51 h 193"/>
                <a:gd name="T14" fmla="*/ 2 w 194"/>
                <a:gd name="T15" fmla="*/ 52 h 193"/>
                <a:gd name="T16" fmla="*/ 1 w 194"/>
                <a:gd name="T17" fmla="*/ 58 h 193"/>
                <a:gd name="T18" fmla="*/ 6 w 194"/>
                <a:gd name="T19" fmla="*/ 62 h 193"/>
                <a:gd name="T20" fmla="*/ 26 w 194"/>
                <a:gd name="T21" fmla="*/ 69 h 193"/>
                <a:gd name="T22" fmla="*/ 141 w 194"/>
                <a:gd name="T23" fmla="*/ 184 h 193"/>
                <a:gd name="T24" fmla="*/ 160 w 194"/>
                <a:gd name="T25" fmla="*/ 193 h 193"/>
                <a:gd name="T26" fmla="*/ 161 w 194"/>
                <a:gd name="T27" fmla="*/ 193 h 193"/>
                <a:gd name="T28" fmla="*/ 181 w 194"/>
                <a:gd name="T29" fmla="*/ 184 h 193"/>
                <a:gd name="T30" fmla="*/ 184 w 194"/>
                <a:gd name="T31" fmla="*/ 181 h 193"/>
                <a:gd name="T32" fmla="*/ 193 w 194"/>
                <a:gd name="T33" fmla="*/ 160 h 193"/>
                <a:gd name="T34" fmla="*/ 184 w 194"/>
                <a:gd name="T35" fmla="*/ 141 h 193"/>
                <a:gd name="T36" fmla="*/ 35 w 194"/>
                <a:gd name="T37" fmla="*/ 60 h 193"/>
                <a:gd name="T38" fmla="*/ 19 w 194"/>
                <a:gd name="T39" fmla="*/ 52 h 193"/>
                <a:gd name="T40" fmla="*/ 52 w 194"/>
                <a:gd name="T41" fmla="*/ 19 h 193"/>
                <a:gd name="T42" fmla="*/ 60 w 194"/>
                <a:gd name="T43" fmla="*/ 34 h 193"/>
                <a:gd name="T44" fmla="*/ 88 w 194"/>
                <a:gd name="T45" fmla="*/ 62 h 193"/>
                <a:gd name="T46" fmla="*/ 37 w 194"/>
                <a:gd name="T47" fmla="*/ 62 h 193"/>
                <a:gd name="T48" fmla="*/ 35 w 194"/>
                <a:gd name="T49" fmla="*/ 60 h 193"/>
                <a:gd name="T50" fmla="*/ 176 w 194"/>
                <a:gd name="T51" fmla="*/ 172 h 193"/>
                <a:gd name="T52" fmla="*/ 172 w 194"/>
                <a:gd name="T53" fmla="*/ 175 h 193"/>
                <a:gd name="T54" fmla="*/ 161 w 194"/>
                <a:gd name="T55" fmla="*/ 181 h 193"/>
                <a:gd name="T56" fmla="*/ 150 w 194"/>
                <a:gd name="T57" fmla="*/ 176 h 193"/>
                <a:gd name="T58" fmla="*/ 150 w 194"/>
                <a:gd name="T59" fmla="*/ 175 h 193"/>
                <a:gd name="T60" fmla="*/ 143 w 194"/>
                <a:gd name="T61" fmla="*/ 169 h 193"/>
                <a:gd name="T62" fmla="*/ 153 w 194"/>
                <a:gd name="T63" fmla="*/ 159 h 193"/>
                <a:gd name="T64" fmla="*/ 153 w 194"/>
                <a:gd name="T65" fmla="*/ 151 h 193"/>
                <a:gd name="T66" fmla="*/ 144 w 194"/>
                <a:gd name="T67" fmla="*/ 151 h 193"/>
                <a:gd name="T68" fmla="*/ 135 w 194"/>
                <a:gd name="T69" fmla="*/ 160 h 193"/>
                <a:gd name="T70" fmla="*/ 121 w 194"/>
                <a:gd name="T71" fmla="*/ 147 h 193"/>
                <a:gd name="T72" fmla="*/ 131 w 194"/>
                <a:gd name="T73" fmla="*/ 138 h 193"/>
                <a:gd name="T74" fmla="*/ 131 w 194"/>
                <a:gd name="T75" fmla="*/ 129 h 193"/>
                <a:gd name="T76" fmla="*/ 122 w 194"/>
                <a:gd name="T77" fmla="*/ 129 h 193"/>
                <a:gd name="T78" fmla="*/ 113 w 194"/>
                <a:gd name="T79" fmla="*/ 138 h 193"/>
                <a:gd name="T80" fmla="*/ 100 w 194"/>
                <a:gd name="T81" fmla="*/ 126 h 193"/>
                <a:gd name="T82" fmla="*/ 110 w 194"/>
                <a:gd name="T83" fmla="*/ 116 h 193"/>
                <a:gd name="T84" fmla="*/ 110 w 194"/>
                <a:gd name="T85" fmla="*/ 107 h 193"/>
                <a:gd name="T86" fmla="*/ 101 w 194"/>
                <a:gd name="T87" fmla="*/ 107 h 193"/>
                <a:gd name="T88" fmla="*/ 91 w 194"/>
                <a:gd name="T89" fmla="*/ 117 h 193"/>
                <a:gd name="T90" fmla="*/ 79 w 194"/>
                <a:gd name="T91" fmla="*/ 104 h 193"/>
                <a:gd name="T92" fmla="*/ 88 w 194"/>
                <a:gd name="T93" fmla="*/ 95 h 193"/>
                <a:gd name="T94" fmla="*/ 88 w 194"/>
                <a:gd name="T95" fmla="*/ 86 h 193"/>
                <a:gd name="T96" fmla="*/ 80 w 194"/>
                <a:gd name="T97" fmla="*/ 86 h 193"/>
                <a:gd name="T98" fmla="*/ 70 w 194"/>
                <a:gd name="T99" fmla="*/ 96 h 193"/>
                <a:gd name="T100" fmla="*/ 49 w 194"/>
                <a:gd name="T101" fmla="*/ 74 h 193"/>
                <a:gd name="T102" fmla="*/ 100 w 194"/>
                <a:gd name="T103" fmla="*/ 74 h 193"/>
                <a:gd name="T104" fmla="*/ 176 w 194"/>
                <a:gd name="T105" fmla="*/ 150 h 193"/>
                <a:gd name="T106" fmla="*/ 176 w 194"/>
                <a:gd name="T107" fmla="*/ 150 h 193"/>
                <a:gd name="T108" fmla="*/ 181 w 194"/>
                <a:gd name="T109" fmla="*/ 160 h 193"/>
                <a:gd name="T110" fmla="*/ 176 w 194"/>
                <a:gd name="T111" fmla="*/ 17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4" h="193">
                  <a:moveTo>
                    <a:pt x="184" y="141"/>
                  </a:moveTo>
                  <a:cubicBezTo>
                    <a:pt x="69" y="26"/>
                    <a:pt x="69" y="26"/>
                    <a:pt x="69" y="26"/>
                  </a:cubicBezTo>
                  <a:cubicBezTo>
                    <a:pt x="65" y="22"/>
                    <a:pt x="63" y="11"/>
                    <a:pt x="62" y="6"/>
                  </a:cubicBezTo>
                  <a:cubicBezTo>
                    <a:pt x="62" y="4"/>
                    <a:pt x="60" y="1"/>
                    <a:pt x="58" y="1"/>
                  </a:cubicBezTo>
                  <a:cubicBezTo>
                    <a:pt x="56" y="0"/>
                    <a:pt x="53" y="0"/>
                    <a:pt x="52" y="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1" y="53"/>
                    <a:pt x="0" y="56"/>
                    <a:pt x="1" y="58"/>
                  </a:cubicBezTo>
                  <a:cubicBezTo>
                    <a:pt x="2" y="60"/>
                    <a:pt x="4" y="62"/>
                    <a:pt x="6" y="62"/>
                  </a:cubicBezTo>
                  <a:cubicBezTo>
                    <a:pt x="11" y="63"/>
                    <a:pt x="22" y="65"/>
                    <a:pt x="26" y="69"/>
                  </a:cubicBezTo>
                  <a:cubicBezTo>
                    <a:pt x="141" y="184"/>
                    <a:pt x="141" y="184"/>
                    <a:pt x="141" y="184"/>
                  </a:cubicBezTo>
                  <a:cubicBezTo>
                    <a:pt x="142" y="186"/>
                    <a:pt x="150" y="193"/>
                    <a:pt x="160" y="193"/>
                  </a:cubicBezTo>
                  <a:cubicBezTo>
                    <a:pt x="161" y="193"/>
                    <a:pt x="161" y="193"/>
                    <a:pt x="161" y="193"/>
                  </a:cubicBezTo>
                  <a:cubicBezTo>
                    <a:pt x="168" y="193"/>
                    <a:pt x="175" y="190"/>
                    <a:pt x="181" y="184"/>
                  </a:cubicBezTo>
                  <a:cubicBezTo>
                    <a:pt x="184" y="181"/>
                    <a:pt x="184" y="181"/>
                    <a:pt x="184" y="181"/>
                  </a:cubicBezTo>
                  <a:cubicBezTo>
                    <a:pt x="191" y="174"/>
                    <a:pt x="194" y="167"/>
                    <a:pt x="193" y="160"/>
                  </a:cubicBezTo>
                  <a:cubicBezTo>
                    <a:pt x="193" y="149"/>
                    <a:pt x="186" y="142"/>
                    <a:pt x="184" y="141"/>
                  </a:cubicBezTo>
                  <a:close/>
                  <a:moveTo>
                    <a:pt x="35" y="60"/>
                  </a:moveTo>
                  <a:cubicBezTo>
                    <a:pt x="31" y="56"/>
                    <a:pt x="25" y="54"/>
                    <a:pt x="19" y="52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4" y="24"/>
                    <a:pt x="56" y="30"/>
                    <a:pt x="60" y="34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37" y="62"/>
                    <a:pt x="37" y="62"/>
                    <a:pt x="37" y="62"/>
                  </a:cubicBezTo>
                  <a:lnTo>
                    <a:pt x="35" y="60"/>
                  </a:lnTo>
                  <a:close/>
                  <a:moveTo>
                    <a:pt x="176" y="172"/>
                  </a:moveTo>
                  <a:cubicBezTo>
                    <a:pt x="172" y="175"/>
                    <a:pt x="172" y="175"/>
                    <a:pt x="172" y="175"/>
                  </a:cubicBezTo>
                  <a:cubicBezTo>
                    <a:pt x="168" y="179"/>
                    <a:pt x="164" y="181"/>
                    <a:pt x="161" y="181"/>
                  </a:cubicBezTo>
                  <a:cubicBezTo>
                    <a:pt x="155" y="181"/>
                    <a:pt x="150" y="176"/>
                    <a:pt x="150" y="176"/>
                  </a:cubicBezTo>
                  <a:cubicBezTo>
                    <a:pt x="150" y="176"/>
                    <a:pt x="150" y="175"/>
                    <a:pt x="150" y="175"/>
                  </a:cubicBezTo>
                  <a:cubicBezTo>
                    <a:pt x="143" y="169"/>
                    <a:pt x="143" y="169"/>
                    <a:pt x="143" y="169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5" y="157"/>
                    <a:pt x="155" y="153"/>
                    <a:pt x="153" y="151"/>
                  </a:cubicBezTo>
                  <a:cubicBezTo>
                    <a:pt x="150" y="148"/>
                    <a:pt x="146" y="148"/>
                    <a:pt x="144" y="151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21" y="147"/>
                    <a:pt x="121" y="147"/>
                    <a:pt x="121" y="147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3" y="135"/>
                    <a:pt x="133" y="131"/>
                    <a:pt x="131" y="129"/>
                  </a:cubicBezTo>
                  <a:cubicBezTo>
                    <a:pt x="128" y="126"/>
                    <a:pt x="125" y="126"/>
                    <a:pt x="122" y="129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00" y="126"/>
                    <a:pt x="100" y="126"/>
                    <a:pt x="100" y="126"/>
                  </a:cubicBezTo>
                  <a:cubicBezTo>
                    <a:pt x="110" y="116"/>
                    <a:pt x="110" y="116"/>
                    <a:pt x="110" y="116"/>
                  </a:cubicBezTo>
                  <a:cubicBezTo>
                    <a:pt x="112" y="114"/>
                    <a:pt x="112" y="110"/>
                    <a:pt x="110" y="107"/>
                  </a:cubicBezTo>
                  <a:cubicBezTo>
                    <a:pt x="107" y="105"/>
                    <a:pt x="103" y="105"/>
                    <a:pt x="101" y="107"/>
                  </a:cubicBezTo>
                  <a:cubicBezTo>
                    <a:pt x="91" y="117"/>
                    <a:pt x="91" y="117"/>
                    <a:pt x="91" y="117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8" y="95"/>
                    <a:pt x="88" y="95"/>
                    <a:pt x="88" y="95"/>
                  </a:cubicBezTo>
                  <a:cubicBezTo>
                    <a:pt x="91" y="93"/>
                    <a:pt x="91" y="89"/>
                    <a:pt x="88" y="86"/>
                  </a:cubicBezTo>
                  <a:cubicBezTo>
                    <a:pt x="86" y="84"/>
                    <a:pt x="82" y="84"/>
                    <a:pt x="80" y="86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100" y="74"/>
                    <a:pt x="100" y="74"/>
                    <a:pt x="100" y="74"/>
                  </a:cubicBezTo>
                  <a:cubicBezTo>
                    <a:pt x="176" y="150"/>
                    <a:pt x="176" y="150"/>
                    <a:pt x="176" y="150"/>
                  </a:cubicBezTo>
                  <a:cubicBezTo>
                    <a:pt x="176" y="150"/>
                    <a:pt x="176" y="150"/>
                    <a:pt x="176" y="150"/>
                  </a:cubicBezTo>
                  <a:cubicBezTo>
                    <a:pt x="176" y="150"/>
                    <a:pt x="181" y="155"/>
                    <a:pt x="181" y="160"/>
                  </a:cubicBezTo>
                  <a:cubicBezTo>
                    <a:pt x="181" y="164"/>
                    <a:pt x="179" y="168"/>
                    <a:pt x="176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7CD0EF9C-9748-B48D-826A-46575ADC8426}"/>
                </a:ext>
              </a:extLst>
            </p:cNvPr>
            <p:cNvGrpSpPr/>
            <p:nvPr/>
          </p:nvGrpSpPr>
          <p:grpSpPr>
            <a:xfrm>
              <a:off x="431019" y="3244086"/>
              <a:ext cx="315551" cy="3390622"/>
              <a:chOff x="581147" y="3244086"/>
              <a:chExt cx="315551" cy="3390622"/>
            </a:xfrm>
            <a:grpFill/>
          </p:grpSpPr>
          <p:sp>
            <p:nvSpPr>
              <p:cNvPr id="10" name="Freeform 196">
                <a:extLst>
                  <a:ext uri="{FF2B5EF4-FFF2-40B4-BE49-F238E27FC236}">
                    <a16:creationId xmlns:a16="http://schemas.microsoft.com/office/drawing/2014/main" id="{19DBE028-C3DB-1C55-5790-B78E5FE63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147" y="5037868"/>
                <a:ext cx="274320" cy="308806"/>
              </a:xfrm>
              <a:custGeom>
                <a:avLst/>
                <a:gdLst>
                  <a:gd name="T0" fmla="*/ 222 w 228"/>
                  <a:gd name="T1" fmla="*/ 264 h 264"/>
                  <a:gd name="T2" fmla="*/ 6 w 228"/>
                  <a:gd name="T3" fmla="*/ 264 h 264"/>
                  <a:gd name="T4" fmla="*/ 0 w 228"/>
                  <a:gd name="T5" fmla="*/ 258 h 264"/>
                  <a:gd name="T6" fmla="*/ 0 w 228"/>
                  <a:gd name="T7" fmla="*/ 6 h 264"/>
                  <a:gd name="T8" fmla="*/ 6 w 228"/>
                  <a:gd name="T9" fmla="*/ 0 h 264"/>
                  <a:gd name="T10" fmla="*/ 30 w 228"/>
                  <a:gd name="T11" fmla="*/ 0 h 264"/>
                  <a:gd name="T12" fmla="*/ 36 w 228"/>
                  <a:gd name="T13" fmla="*/ 6 h 264"/>
                  <a:gd name="T14" fmla="*/ 30 w 228"/>
                  <a:gd name="T15" fmla="*/ 12 h 264"/>
                  <a:gd name="T16" fmla="*/ 12 w 228"/>
                  <a:gd name="T17" fmla="*/ 12 h 264"/>
                  <a:gd name="T18" fmla="*/ 12 w 228"/>
                  <a:gd name="T19" fmla="*/ 252 h 264"/>
                  <a:gd name="T20" fmla="*/ 216 w 228"/>
                  <a:gd name="T21" fmla="*/ 252 h 264"/>
                  <a:gd name="T22" fmla="*/ 216 w 228"/>
                  <a:gd name="T23" fmla="*/ 12 h 264"/>
                  <a:gd name="T24" fmla="*/ 198 w 228"/>
                  <a:gd name="T25" fmla="*/ 12 h 264"/>
                  <a:gd name="T26" fmla="*/ 192 w 228"/>
                  <a:gd name="T27" fmla="*/ 6 h 264"/>
                  <a:gd name="T28" fmla="*/ 198 w 228"/>
                  <a:gd name="T29" fmla="*/ 0 h 264"/>
                  <a:gd name="T30" fmla="*/ 222 w 228"/>
                  <a:gd name="T31" fmla="*/ 0 h 264"/>
                  <a:gd name="T32" fmla="*/ 228 w 228"/>
                  <a:gd name="T33" fmla="*/ 6 h 264"/>
                  <a:gd name="T34" fmla="*/ 228 w 228"/>
                  <a:gd name="T35" fmla="*/ 258 h 264"/>
                  <a:gd name="T36" fmla="*/ 222 w 228"/>
                  <a:gd name="T37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8" h="264">
                    <a:moveTo>
                      <a:pt x="222" y="264"/>
                    </a:moveTo>
                    <a:cubicBezTo>
                      <a:pt x="6" y="264"/>
                      <a:pt x="6" y="264"/>
                      <a:pt x="6" y="264"/>
                    </a:cubicBezTo>
                    <a:cubicBezTo>
                      <a:pt x="3" y="264"/>
                      <a:pt x="0" y="262"/>
                      <a:pt x="0" y="25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0"/>
                      <a:pt x="36" y="3"/>
                      <a:pt x="36" y="6"/>
                    </a:cubicBezTo>
                    <a:cubicBezTo>
                      <a:pt x="36" y="10"/>
                      <a:pt x="34" y="12"/>
                      <a:pt x="3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252"/>
                      <a:pt x="12" y="252"/>
                      <a:pt x="12" y="252"/>
                    </a:cubicBezTo>
                    <a:cubicBezTo>
                      <a:pt x="216" y="252"/>
                      <a:pt x="216" y="252"/>
                      <a:pt x="216" y="252"/>
                    </a:cubicBezTo>
                    <a:cubicBezTo>
                      <a:pt x="216" y="12"/>
                      <a:pt x="216" y="12"/>
                      <a:pt x="216" y="12"/>
                    </a:cubicBezTo>
                    <a:cubicBezTo>
                      <a:pt x="198" y="12"/>
                      <a:pt x="198" y="12"/>
                      <a:pt x="198" y="12"/>
                    </a:cubicBezTo>
                    <a:cubicBezTo>
                      <a:pt x="195" y="12"/>
                      <a:pt x="192" y="10"/>
                      <a:pt x="192" y="6"/>
                    </a:cubicBezTo>
                    <a:cubicBezTo>
                      <a:pt x="192" y="3"/>
                      <a:pt x="195" y="0"/>
                      <a:pt x="198" y="0"/>
                    </a:cubicBezTo>
                    <a:cubicBezTo>
                      <a:pt x="222" y="0"/>
                      <a:pt x="222" y="0"/>
                      <a:pt x="222" y="0"/>
                    </a:cubicBezTo>
                    <a:cubicBezTo>
                      <a:pt x="226" y="0"/>
                      <a:pt x="228" y="3"/>
                      <a:pt x="228" y="6"/>
                    </a:cubicBezTo>
                    <a:cubicBezTo>
                      <a:pt x="228" y="258"/>
                      <a:pt x="228" y="258"/>
                      <a:pt x="228" y="258"/>
                    </a:cubicBezTo>
                    <a:cubicBezTo>
                      <a:pt x="228" y="262"/>
                      <a:pt x="226" y="264"/>
                      <a:pt x="222" y="2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Freeform 197">
                <a:extLst>
                  <a:ext uri="{FF2B5EF4-FFF2-40B4-BE49-F238E27FC236}">
                    <a16:creationId xmlns:a16="http://schemas.microsoft.com/office/drawing/2014/main" id="{A8BFF2D0-25B2-295A-9745-49D196BF1B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9146" y="5009652"/>
                <a:ext cx="158322" cy="83864"/>
              </a:xfrm>
              <a:custGeom>
                <a:avLst/>
                <a:gdLst>
                  <a:gd name="T0" fmla="*/ 126 w 132"/>
                  <a:gd name="T1" fmla="*/ 72 h 72"/>
                  <a:gd name="T2" fmla="*/ 6 w 132"/>
                  <a:gd name="T3" fmla="*/ 72 h 72"/>
                  <a:gd name="T4" fmla="*/ 0 w 132"/>
                  <a:gd name="T5" fmla="*/ 66 h 72"/>
                  <a:gd name="T6" fmla="*/ 0 w 132"/>
                  <a:gd name="T7" fmla="*/ 30 h 72"/>
                  <a:gd name="T8" fmla="*/ 6 w 132"/>
                  <a:gd name="T9" fmla="*/ 24 h 72"/>
                  <a:gd name="T10" fmla="*/ 37 w 132"/>
                  <a:gd name="T11" fmla="*/ 24 h 72"/>
                  <a:gd name="T12" fmla="*/ 66 w 132"/>
                  <a:gd name="T13" fmla="*/ 0 h 72"/>
                  <a:gd name="T14" fmla="*/ 96 w 132"/>
                  <a:gd name="T15" fmla="*/ 24 h 72"/>
                  <a:gd name="T16" fmla="*/ 126 w 132"/>
                  <a:gd name="T17" fmla="*/ 24 h 72"/>
                  <a:gd name="T18" fmla="*/ 132 w 132"/>
                  <a:gd name="T19" fmla="*/ 30 h 72"/>
                  <a:gd name="T20" fmla="*/ 132 w 132"/>
                  <a:gd name="T21" fmla="*/ 66 h 72"/>
                  <a:gd name="T22" fmla="*/ 126 w 132"/>
                  <a:gd name="T23" fmla="*/ 72 h 72"/>
                  <a:gd name="T24" fmla="*/ 12 w 132"/>
                  <a:gd name="T25" fmla="*/ 60 h 72"/>
                  <a:gd name="T26" fmla="*/ 120 w 132"/>
                  <a:gd name="T27" fmla="*/ 60 h 72"/>
                  <a:gd name="T28" fmla="*/ 120 w 132"/>
                  <a:gd name="T29" fmla="*/ 36 h 72"/>
                  <a:gd name="T30" fmla="*/ 90 w 132"/>
                  <a:gd name="T31" fmla="*/ 36 h 72"/>
                  <a:gd name="T32" fmla="*/ 84 w 132"/>
                  <a:gd name="T33" fmla="*/ 30 h 72"/>
                  <a:gd name="T34" fmla="*/ 66 w 132"/>
                  <a:gd name="T35" fmla="*/ 12 h 72"/>
                  <a:gd name="T36" fmla="*/ 48 w 132"/>
                  <a:gd name="T37" fmla="*/ 30 h 72"/>
                  <a:gd name="T38" fmla="*/ 42 w 132"/>
                  <a:gd name="T39" fmla="*/ 36 h 72"/>
                  <a:gd name="T40" fmla="*/ 12 w 132"/>
                  <a:gd name="T41" fmla="*/ 36 h 72"/>
                  <a:gd name="T42" fmla="*/ 12 w 132"/>
                  <a:gd name="T43" fmla="*/ 60 h 72"/>
                  <a:gd name="T44" fmla="*/ 96 w 132"/>
                  <a:gd name="T45" fmla="*/ 30 h 72"/>
                  <a:gd name="T46" fmla="*/ 96 w 132"/>
                  <a:gd name="T47" fmla="*/ 3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2" h="72">
                    <a:moveTo>
                      <a:pt x="126" y="72"/>
                    </a:moveTo>
                    <a:cubicBezTo>
                      <a:pt x="6" y="72"/>
                      <a:pt x="6" y="72"/>
                      <a:pt x="6" y="72"/>
                    </a:cubicBezTo>
                    <a:cubicBezTo>
                      <a:pt x="3" y="72"/>
                      <a:pt x="0" y="70"/>
                      <a:pt x="0" y="66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27"/>
                      <a:pt x="3" y="24"/>
                      <a:pt x="6" y="24"/>
                    </a:cubicBezTo>
                    <a:cubicBezTo>
                      <a:pt x="37" y="24"/>
                      <a:pt x="37" y="24"/>
                      <a:pt x="37" y="24"/>
                    </a:cubicBezTo>
                    <a:cubicBezTo>
                      <a:pt x="40" y="11"/>
                      <a:pt x="52" y="0"/>
                      <a:pt x="66" y="0"/>
                    </a:cubicBezTo>
                    <a:cubicBezTo>
                      <a:pt x="81" y="0"/>
                      <a:pt x="93" y="11"/>
                      <a:pt x="96" y="24"/>
                    </a:cubicBezTo>
                    <a:cubicBezTo>
                      <a:pt x="126" y="24"/>
                      <a:pt x="126" y="24"/>
                      <a:pt x="126" y="24"/>
                    </a:cubicBezTo>
                    <a:cubicBezTo>
                      <a:pt x="130" y="24"/>
                      <a:pt x="132" y="27"/>
                      <a:pt x="132" y="30"/>
                    </a:cubicBezTo>
                    <a:cubicBezTo>
                      <a:pt x="132" y="66"/>
                      <a:pt x="132" y="66"/>
                      <a:pt x="132" y="66"/>
                    </a:cubicBezTo>
                    <a:cubicBezTo>
                      <a:pt x="132" y="70"/>
                      <a:pt x="130" y="72"/>
                      <a:pt x="126" y="72"/>
                    </a:cubicBezTo>
                    <a:close/>
                    <a:moveTo>
                      <a:pt x="12" y="60"/>
                    </a:moveTo>
                    <a:cubicBezTo>
                      <a:pt x="120" y="60"/>
                      <a:pt x="120" y="60"/>
                      <a:pt x="120" y="60"/>
                    </a:cubicBezTo>
                    <a:cubicBezTo>
                      <a:pt x="120" y="36"/>
                      <a:pt x="120" y="36"/>
                      <a:pt x="120" y="36"/>
                    </a:cubicBezTo>
                    <a:cubicBezTo>
                      <a:pt x="90" y="36"/>
                      <a:pt x="90" y="36"/>
                      <a:pt x="90" y="36"/>
                    </a:cubicBezTo>
                    <a:cubicBezTo>
                      <a:pt x="87" y="36"/>
                      <a:pt x="84" y="34"/>
                      <a:pt x="84" y="30"/>
                    </a:cubicBezTo>
                    <a:cubicBezTo>
                      <a:pt x="84" y="20"/>
                      <a:pt x="76" y="12"/>
                      <a:pt x="66" y="12"/>
                    </a:cubicBezTo>
                    <a:cubicBezTo>
                      <a:pt x="56" y="12"/>
                      <a:pt x="48" y="20"/>
                      <a:pt x="48" y="30"/>
                    </a:cubicBezTo>
                    <a:cubicBezTo>
                      <a:pt x="48" y="34"/>
                      <a:pt x="46" y="36"/>
                      <a:pt x="42" y="36"/>
                    </a:cubicBezTo>
                    <a:cubicBezTo>
                      <a:pt x="12" y="36"/>
                      <a:pt x="12" y="36"/>
                      <a:pt x="12" y="36"/>
                    </a:cubicBezTo>
                    <a:lnTo>
                      <a:pt x="12" y="60"/>
                    </a:lnTo>
                    <a:close/>
                    <a:moveTo>
                      <a:pt x="96" y="30"/>
                    </a:moveTo>
                    <a:cubicBezTo>
                      <a:pt x="96" y="30"/>
                      <a:pt x="96" y="30"/>
                      <a:pt x="9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 198">
                <a:extLst>
                  <a:ext uri="{FF2B5EF4-FFF2-40B4-BE49-F238E27FC236}">
                    <a16:creationId xmlns:a16="http://schemas.microsoft.com/office/drawing/2014/main" id="{1F487F8C-0324-6076-20B8-9EE212A01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147" y="5066084"/>
                <a:ext cx="216321" cy="252375"/>
              </a:xfrm>
              <a:custGeom>
                <a:avLst/>
                <a:gdLst>
                  <a:gd name="T0" fmla="*/ 174 w 180"/>
                  <a:gd name="T1" fmla="*/ 216 h 216"/>
                  <a:gd name="T2" fmla="*/ 6 w 180"/>
                  <a:gd name="T3" fmla="*/ 216 h 216"/>
                  <a:gd name="T4" fmla="*/ 0 w 180"/>
                  <a:gd name="T5" fmla="*/ 210 h 216"/>
                  <a:gd name="T6" fmla="*/ 0 w 180"/>
                  <a:gd name="T7" fmla="*/ 6 h 216"/>
                  <a:gd name="T8" fmla="*/ 6 w 180"/>
                  <a:gd name="T9" fmla="*/ 0 h 216"/>
                  <a:gd name="T10" fmla="*/ 30 w 180"/>
                  <a:gd name="T11" fmla="*/ 0 h 216"/>
                  <a:gd name="T12" fmla="*/ 36 w 180"/>
                  <a:gd name="T13" fmla="*/ 6 h 216"/>
                  <a:gd name="T14" fmla="*/ 30 w 180"/>
                  <a:gd name="T15" fmla="*/ 12 h 216"/>
                  <a:gd name="T16" fmla="*/ 12 w 180"/>
                  <a:gd name="T17" fmla="*/ 12 h 216"/>
                  <a:gd name="T18" fmla="*/ 12 w 180"/>
                  <a:gd name="T19" fmla="*/ 204 h 216"/>
                  <a:gd name="T20" fmla="*/ 168 w 180"/>
                  <a:gd name="T21" fmla="*/ 204 h 216"/>
                  <a:gd name="T22" fmla="*/ 168 w 180"/>
                  <a:gd name="T23" fmla="*/ 12 h 216"/>
                  <a:gd name="T24" fmla="*/ 150 w 180"/>
                  <a:gd name="T25" fmla="*/ 12 h 216"/>
                  <a:gd name="T26" fmla="*/ 144 w 180"/>
                  <a:gd name="T27" fmla="*/ 6 h 216"/>
                  <a:gd name="T28" fmla="*/ 150 w 180"/>
                  <a:gd name="T29" fmla="*/ 0 h 216"/>
                  <a:gd name="T30" fmla="*/ 174 w 180"/>
                  <a:gd name="T31" fmla="*/ 0 h 216"/>
                  <a:gd name="T32" fmla="*/ 180 w 180"/>
                  <a:gd name="T33" fmla="*/ 6 h 216"/>
                  <a:gd name="T34" fmla="*/ 180 w 180"/>
                  <a:gd name="T35" fmla="*/ 210 h 216"/>
                  <a:gd name="T36" fmla="*/ 174 w 180"/>
                  <a:gd name="T37" fmla="*/ 21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0" h="216">
                    <a:moveTo>
                      <a:pt x="174" y="216"/>
                    </a:moveTo>
                    <a:cubicBezTo>
                      <a:pt x="6" y="216"/>
                      <a:pt x="6" y="216"/>
                      <a:pt x="6" y="216"/>
                    </a:cubicBezTo>
                    <a:cubicBezTo>
                      <a:pt x="3" y="216"/>
                      <a:pt x="0" y="214"/>
                      <a:pt x="0" y="21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4" y="0"/>
                      <a:pt x="36" y="3"/>
                      <a:pt x="36" y="6"/>
                    </a:cubicBezTo>
                    <a:cubicBezTo>
                      <a:pt x="36" y="10"/>
                      <a:pt x="34" y="12"/>
                      <a:pt x="30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204"/>
                      <a:pt x="12" y="204"/>
                      <a:pt x="12" y="204"/>
                    </a:cubicBezTo>
                    <a:cubicBezTo>
                      <a:pt x="168" y="204"/>
                      <a:pt x="168" y="204"/>
                      <a:pt x="168" y="204"/>
                    </a:cubicBezTo>
                    <a:cubicBezTo>
                      <a:pt x="168" y="12"/>
                      <a:pt x="168" y="12"/>
                      <a:pt x="168" y="12"/>
                    </a:cubicBezTo>
                    <a:cubicBezTo>
                      <a:pt x="150" y="12"/>
                      <a:pt x="150" y="12"/>
                      <a:pt x="150" y="12"/>
                    </a:cubicBezTo>
                    <a:cubicBezTo>
                      <a:pt x="147" y="12"/>
                      <a:pt x="144" y="10"/>
                      <a:pt x="144" y="6"/>
                    </a:cubicBezTo>
                    <a:cubicBezTo>
                      <a:pt x="144" y="3"/>
                      <a:pt x="147" y="0"/>
                      <a:pt x="150" y="0"/>
                    </a:cubicBezTo>
                    <a:cubicBezTo>
                      <a:pt x="174" y="0"/>
                      <a:pt x="174" y="0"/>
                      <a:pt x="174" y="0"/>
                    </a:cubicBezTo>
                    <a:cubicBezTo>
                      <a:pt x="178" y="0"/>
                      <a:pt x="180" y="3"/>
                      <a:pt x="180" y="6"/>
                    </a:cubicBezTo>
                    <a:cubicBezTo>
                      <a:pt x="180" y="210"/>
                      <a:pt x="180" y="210"/>
                      <a:pt x="180" y="210"/>
                    </a:cubicBezTo>
                    <a:cubicBezTo>
                      <a:pt x="180" y="214"/>
                      <a:pt x="178" y="216"/>
                      <a:pt x="174" y="2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 199">
                <a:extLst>
                  <a:ext uri="{FF2B5EF4-FFF2-40B4-BE49-F238E27FC236}">
                    <a16:creationId xmlns:a16="http://schemas.microsoft.com/office/drawing/2014/main" id="{40D9A8D3-E222-2545-8D52-14CC5E66CA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254" y="5234595"/>
                <a:ext cx="130106" cy="14108"/>
              </a:xfrm>
              <a:custGeom>
                <a:avLst/>
                <a:gdLst>
                  <a:gd name="T0" fmla="*/ 102 w 108"/>
                  <a:gd name="T1" fmla="*/ 12 h 12"/>
                  <a:gd name="T2" fmla="*/ 6 w 108"/>
                  <a:gd name="T3" fmla="*/ 12 h 12"/>
                  <a:gd name="T4" fmla="*/ 0 w 108"/>
                  <a:gd name="T5" fmla="*/ 6 h 12"/>
                  <a:gd name="T6" fmla="*/ 6 w 108"/>
                  <a:gd name="T7" fmla="*/ 0 h 12"/>
                  <a:gd name="T8" fmla="*/ 102 w 108"/>
                  <a:gd name="T9" fmla="*/ 0 h 12"/>
                  <a:gd name="T10" fmla="*/ 108 w 108"/>
                  <a:gd name="T11" fmla="*/ 6 h 12"/>
                  <a:gd name="T12" fmla="*/ 102 w 10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2">
                    <a:moveTo>
                      <a:pt x="10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2" y="0"/>
                      <a:pt x="102" y="0"/>
                      <a:pt x="102" y="0"/>
                    </a:cubicBezTo>
                    <a:cubicBezTo>
                      <a:pt x="106" y="0"/>
                      <a:pt x="108" y="3"/>
                      <a:pt x="108" y="6"/>
                    </a:cubicBezTo>
                    <a:cubicBezTo>
                      <a:pt x="108" y="10"/>
                      <a:pt x="106" y="12"/>
                      <a:pt x="10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Freeform 200">
                <a:extLst>
                  <a:ext uri="{FF2B5EF4-FFF2-40B4-BE49-F238E27FC236}">
                    <a16:creationId xmlns:a16="http://schemas.microsoft.com/office/drawing/2014/main" id="{F01744C7-4458-F4C5-607C-8DCB6937C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254" y="5262810"/>
                <a:ext cx="130106" cy="13324"/>
              </a:xfrm>
              <a:custGeom>
                <a:avLst/>
                <a:gdLst>
                  <a:gd name="T0" fmla="*/ 102 w 108"/>
                  <a:gd name="T1" fmla="*/ 12 h 12"/>
                  <a:gd name="T2" fmla="*/ 6 w 108"/>
                  <a:gd name="T3" fmla="*/ 12 h 12"/>
                  <a:gd name="T4" fmla="*/ 0 w 108"/>
                  <a:gd name="T5" fmla="*/ 6 h 12"/>
                  <a:gd name="T6" fmla="*/ 6 w 108"/>
                  <a:gd name="T7" fmla="*/ 0 h 12"/>
                  <a:gd name="T8" fmla="*/ 102 w 108"/>
                  <a:gd name="T9" fmla="*/ 0 h 12"/>
                  <a:gd name="T10" fmla="*/ 108 w 108"/>
                  <a:gd name="T11" fmla="*/ 6 h 12"/>
                  <a:gd name="T12" fmla="*/ 102 w 10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8" h="12">
                    <a:moveTo>
                      <a:pt x="10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2" y="0"/>
                      <a:pt x="102" y="0"/>
                      <a:pt x="102" y="0"/>
                    </a:cubicBezTo>
                    <a:cubicBezTo>
                      <a:pt x="106" y="0"/>
                      <a:pt x="108" y="3"/>
                      <a:pt x="108" y="6"/>
                    </a:cubicBezTo>
                    <a:cubicBezTo>
                      <a:pt x="108" y="10"/>
                      <a:pt x="106" y="12"/>
                      <a:pt x="10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201">
                <a:extLst>
                  <a:ext uri="{FF2B5EF4-FFF2-40B4-BE49-F238E27FC236}">
                    <a16:creationId xmlns:a16="http://schemas.microsoft.com/office/drawing/2014/main" id="{C8E5DC96-CEB9-1B66-A43B-C5652C6FFA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146" y="5107624"/>
                <a:ext cx="100323" cy="98755"/>
              </a:xfrm>
              <a:custGeom>
                <a:avLst/>
                <a:gdLst>
                  <a:gd name="T0" fmla="*/ 54 w 84"/>
                  <a:gd name="T1" fmla="*/ 84 h 84"/>
                  <a:gd name="T2" fmla="*/ 30 w 84"/>
                  <a:gd name="T3" fmla="*/ 84 h 84"/>
                  <a:gd name="T4" fmla="*/ 24 w 84"/>
                  <a:gd name="T5" fmla="*/ 78 h 84"/>
                  <a:gd name="T6" fmla="*/ 24 w 84"/>
                  <a:gd name="T7" fmla="*/ 60 h 84"/>
                  <a:gd name="T8" fmla="*/ 6 w 84"/>
                  <a:gd name="T9" fmla="*/ 60 h 84"/>
                  <a:gd name="T10" fmla="*/ 0 w 84"/>
                  <a:gd name="T11" fmla="*/ 54 h 84"/>
                  <a:gd name="T12" fmla="*/ 0 w 84"/>
                  <a:gd name="T13" fmla="*/ 30 h 84"/>
                  <a:gd name="T14" fmla="*/ 6 w 84"/>
                  <a:gd name="T15" fmla="*/ 24 h 84"/>
                  <a:gd name="T16" fmla="*/ 24 w 84"/>
                  <a:gd name="T17" fmla="*/ 24 h 84"/>
                  <a:gd name="T18" fmla="*/ 24 w 84"/>
                  <a:gd name="T19" fmla="*/ 6 h 84"/>
                  <a:gd name="T20" fmla="*/ 30 w 84"/>
                  <a:gd name="T21" fmla="*/ 0 h 84"/>
                  <a:gd name="T22" fmla="*/ 54 w 84"/>
                  <a:gd name="T23" fmla="*/ 0 h 84"/>
                  <a:gd name="T24" fmla="*/ 60 w 84"/>
                  <a:gd name="T25" fmla="*/ 6 h 84"/>
                  <a:gd name="T26" fmla="*/ 60 w 84"/>
                  <a:gd name="T27" fmla="*/ 24 h 84"/>
                  <a:gd name="T28" fmla="*/ 78 w 84"/>
                  <a:gd name="T29" fmla="*/ 24 h 84"/>
                  <a:gd name="T30" fmla="*/ 84 w 84"/>
                  <a:gd name="T31" fmla="*/ 30 h 84"/>
                  <a:gd name="T32" fmla="*/ 84 w 84"/>
                  <a:gd name="T33" fmla="*/ 54 h 84"/>
                  <a:gd name="T34" fmla="*/ 78 w 84"/>
                  <a:gd name="T35" fmla="*/ 60 h 84"/>
                  <a:gd name="T36" fmla="*/ 60 w 84"/>
                  <a:gd name="T37" fmla="*/ 60 h 84"/>
                  <a:gd name="T38" fmla="*/ 60 w 84"/>
                  <a:gd name="T39" fmla="*/ 78 h 84"/>
                  <a:gd name="T40" fmla="*/ 54 w 84"/>
                  <a:gd name="T41" fmla="*/ 84 h 84"/>
                  <a:gd name="T42" fmla="*/ 36 w 84"/>
                  <a:gd name="T43" fmla="*/ 72 h 84"/>
                  <a:gd name="T44" fmla="*/ 48 w 84"/>
                  <a:gd name="T45" fmla="*/ 72 h 84"/>
                  <a:gd name="T46" fmla="*/ 48 w 84"/>
                  <a:gd name="T47" fmla="*/ 54 h 84"/>
                  <a:gd name="T48" fmla="*/ 54 w 84"/>
                  <a:gd name="T49" fmla="*/ 48 h 84"/>
                  <a:gd name="T50" fmla="*/ 72 w 84"/>
                  <a:gd name="T51" fmla="*/ 48 h 84"/>
                  <a:gd name="T52" fmla="*/ 72 w 84"/>
                  <a:gd name="T53" fmla="*/ 36 h 84"/>
                  <a:gd name="T54" fmla="*/ 54 w 84"/>
                  <a:gd name="T55" fmla="*/ 36 h 84"/>
                  <a:gd name="T56" fmla="*/ 48 w 84"/>
                  <a:gd name="T57" fmla="*/ 30 h 84"/>
                  <a:gd name="T58" fmla="*/ 48 w 84"/>
                  <a:gd name="T59" fmla="*/ 12 h 84"/>
                  <a:gd name="T60" fmla="*/ 36 w 84"/>
                  <a:gd name="T61" fmla="*/ 12 h 84"/>
                  <a:gd name="T62" fmla="*/ 36 w 84"/>
                  <a:gd name="T63" fmla="*/ 30 h 84"/>
                  <a:gd name="T64" fmla="*/ 30 w 84"/>
                  <a:gd name="T65" fmla="*/ 36 h 84"/>
                  <a:gd name="T66" fmla="*/ 12 w 84"/>
                  <a:gd name="T67" fmla="*/ 36 h 84"/>
                  <a:gd name="T68" fmla="*/ 12 w 84"/>
                  <a:gd name="T69" fmla="*/ 48 h 84"/>
                  <a:gd name="T70" fmla="*/ 30 w 84"/>
                  <a:gd name="T71" fmla="*/ 48 h 84"/>
                  <a:gd name="T72" fmla="*/ 36 w 84"/>
                  <a:gd name="T73" fmla="*/ 54 h 84"/>
                  <a:gd name="T74" fmla="*/ 36 w 84"/>
                  <a:gd name="T75" fmla="*/ 7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4" h="84">
                    <a:moveTo>
                      <a:pt x="54" y="84"/>
                    </a:moveTo>
                    <a:cubicBezTo>
                      <a:pt x="30" y="84"/>
                      <a:pt x="30" y="84"/>
                      <a:pt x="30" y="84"/>
                    </a:cubicBezTo>
                    <a:cubicBezTo>
                      <a:pt x="27" y="84"/>
                      <a:pt x="24" y="82"/>
                      <a:pt x="24" y="78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3" y="60"/>
                      <a:pt x="0" y="58"/>
                      <a:pt x="0" y="54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27"/>
                      <a:pt x="3" y="24"/>
                      <a:pt x="6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3"/>
                      <a:pt x="27" y="0"/>
                      <a:pt x="30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8" y="0"/>
                      <a:pt x="60" y="3"/>
                      <a:pt x="60" y="6"/>
                    </a:cubicBezTo>
                    <a:cubicBezTo>
                      <a:pt x="60" y="24"/>
                      <a:pt x="60" y="24"/>
                      <a:pt x="60" y="24"/>
                    </a:cubicBezTo>
                    <a:cubicBezTo>
                      <a:pt x="78" y="24"/>
                      <a:pt x="78" y="24"/>
                      <a:pt x="78" y="24"/>
                    </a:cubicBezTo>
                    <a:cubicBezTo>
                      <a:pt x="82" y="24"/>
                      <a:pt x="84" y="27"/>
                      <a:pt x="84" y="30"/>
                    </a:cubicBezTo>
                    <a:cubicBezTo>
                      <a:pt x="84" y="54"/>
                      <a:pt x="84" y="54"/>
                      <a:pt x="84" y="54"/>
                    </a:cubicBezTo>
                    <a:cubicBezTo>
                      <a:pt x="84" y="58"/>
                      <a:pt x="82" y="60"/>
                      <a:pt x="78" y="60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0" y="78"/>
                      <a:pt x="60" y="78"/>
                      <a:pt x="60" y="78"/>
                    </a:cubicBezTo>
                    <a:cubicBezTo>
                      <a:pt x="60" y="82"/>
                      <a:pt x="58" y="84"/>
                      <a:pt x="54" y="84"/>
                    </a:cubicBezTo>
                    <a:close/>
                    <a:moveTo>
                      <a:pt x="36" y="72"/>
                    </a:moveTo>
                    <a:cubicBezTo>
                      <a:pt x="48" y="72"/>
                      <a:pt x="48" y="72"/>
                      <a:pt x="48" y="72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1"/>
                      <a:pt x="51" y="48"/>
                      <a:pt x="54" y="48"/>
                    </a:cubicBezTo>
                    <a:cubicBezTo>
                      <a:pt x="72" y="48"/>
                      <a:pt x="72" y="48"/>
                      <a:pt x="72" y="48"/>
                    </a:cubicBezTo>
                    <a:cubicBezTo>
                      <a:pt x="72" y="36"/>
                      <a:pt x="72" y="36"/>
                      <a:pt x="72" y="36"/>
                    </a:cubicBezTo>
                    <a:cubicBezTo>
                      <a:pt x="54" y="36"/>
                      <a:pt x="54" y="36"/>
                      <a:pt x="54" y="36"/>
                    </a:cubicBezTo>
                    <a:cubicBezTo>
                      <a:pt x="51" y="36"/>
                      <a:pt x="48" y="34"/>
                      <a:pt x="48" y="30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36" y="30"/>
                      <a:pt x="36" y="30"/>
                      <a:pt x="36" y="30"/>
                    </a:cubicBezTo>
                    <a:cubicBezTo>
                      <a:pt x="36" y="34"/>
                      <a:pt x="34" y="36"/>
                      <a:pt x="30" y="36"/>
                    </a:cubicBezTo>
                    <a:cubicBezTo>
                      <a:pt x="12" y="36"/>
                      <a:pt x="12" y="36"/>
                      <a:pt x="12" y="36"/>
                    </a:cubicBezTo>
                    <a:cubicBezTo>
                      <a:pt x="12" y="48"/>
                      <a:pt x="12" y="48"/>
                      <a:pt x="12" y="48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34" y="48"/>
                      <a:pt x="36" y="51"/>
                      <a:pt x="36" y="54"/>
                    </a:cubicBezTo>
                    <a:lnTo>
                      <a:pt x="36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 90">
                <a:extLst>
                  <a:ext uri="{FF2B5EF4-FFF2-40B4-BE49-F238E27FC236}">
                    <a16:creationId xmlns:a16="http://schemas.microsoft.com/office/drawing/2014/main" id="{1E1E183B-5611-B350-5F68-B606917560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9538" y="3381246"/>
                <a:ext cx="137160" cy="137160"/>
              </a:xfrm>
              <a:custGeom>
                <a:avLst/>
                <a:gdLst>
                  <a:gd name="T0" fmla="*/ 6 w 144"/>
                  <a:gd name="T1" fmla="*/ 144 h 144"/>
                  <a:gd name="T2" fmla="*/ 2 w 144"/>
                  <a:gd name="T3" fmla="*/ 143 h 144"/>
                  <a:gd name="T4" fmla="*/ 1 w 144"/>
                  <a:gd name="T5" fmla="*/ 137 h 144"/>
                  <a:gd name="T6" fmla="*/ 13 w 144"/>
                  <a:gd name="T7" fmla="*/ 95 h 144"/>
                  <a:gd name="T8" fmla="*/ 14 w 144"/>
                  <a:gd name="T9" fmla="*/ 92 h 144"/>
                  <a:gd name="T10" fmla="*/ 104 w 144"/>
                  <a:gd name="T11" fmla="*/ 2 h 144"/>
                  <a:gd name="T12" fmla="*/ 113 w 144"/>
                  <a:gd name="T13" fmla="*/ 2 h 144"/>
                  <a:gd name="T14" fmla="*/ 143 w 144"/>
                  <a:gd name="T15" fmla="*/ 32 h 144"/>
                  <a:gd name="T16" fmla="*/ 144 w 144"/>
                  <a:gd name="T17" fmla="*/ 36 h 144"/>
                  <a:gd name="T18" fmla="*/ 143 w 144"/>
                  <a:gd name="T19" fmla="*/ 41 h 144"/>
                  <a:gd name="T20" fmla="*/ 53 w 144"/>
                  <a:gd name="T21" fmla="*/ 131 h 144"/>
                  <a:gd name="T22" fmla="*/ 50 w 144"/>
                  <a:gd name="T23" fmla="*/ 132 h 144"/>
                  <a:gd name="T24" fmla="*/ 8 w 144"/>
                  <a:gd name="T25" fmla="*/ 144 h 144"/>
                  <a:gd name="T26" fmla="*/ 6 w 144"/>
                  <a:gd name="T27" fmla="*/ 144 h 144"/>
                  <a:gd name="T28" fmla="*/ 24 w 144"/>
                  <a:gd name="T29" fmla="*/ 100 h 144"/>
                  <a:gd name="T30" fmla="*/ 15 w 144"/>
                  <a:gd name="T31" fmla="*/ 130 h 144"/>
                  <a:gd name="T32" fmla="*/ 45 w 144"/>
                  <a:gd name="T33" fmla="*/ 121 h 144"/>
                  <a:gd name="T34" fmla="*/ 130 w 144"/>
                  <a:gd name="T35" fmla="*/ 36 h 144"/>
                  <a:gd name="T36" fmla="*/ 108 w 144"/>
                  <a:gd name="T37" fmla="*/ 15 h 144"/>
                  <a:gd name="T38" fmla="*/ 24 w 144"/>
                  <a:gd name="T39" fmla="*/ 100 h 144"/>
                  <a:gd name="T40" fmla="*/ 48 w 144"/>
                  <a:gd name="T41" fmla="*/ 126 h 144"/>
                  <a:gd name="T42" fmla="*/ 48 w 144"/>
                  <a:gd name="T43" fmla="*/ 12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4" h="144">
                    <a:moveTo>
                      <a:pt x="6" y="144"/>
                    </a:moveTo>
                    <a:cubicBezTo>
                      <a:pt x="5" y="144"/>
                      <a:pt x="3" y="144"/>
                      <a:pt x="2" y="143"/>
                    </a:cubicBezTo>
                    <a:cubicBezTo>
                      <a:pt x="1" y="141"/>
                      <a:pt x="0" y="139"/>
                      <a:pt x="1" y="137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3" y="94"/>
                      <a:pt x="13" y="93"/>
                      <a:pt x="14" y="92"/>
                    </a:cubicBezTo>
                    <a:cubicBezTo>
                      <a:pt x="104" y="2"/>
                      <a:pt x="104" y="2"/>
                      <a:pt x="104" y="2"/>
                    </a:cubicBezTo>
                    <a:cubicBezTo>
                      <a:pt x="107" y="0"/>
                      <a:pt x="110" y="0"/>
                      <a:pt x="113" y="2"/>
                    </a:cubicBezTo>
                    <a:cubicBezTo>
                      <a:pt x="143" y="32"/>
                      <a:pt x="143" y="32"/>
                      <a:pt x="143" y="32"/>
                    </a:cubicBezTo>
                    <a:cubicBezTo>
                      <a:pt x="144" y="33"/>
                      <a:pt x="144" y="35"/>
                      <a:pt x="144" y="36"/>
                    </a:cubicBezTo>
                    <a:cubicBezTo>
                      <a:pt x="144" y="38"/>
                      <a:pt x="144" y="40"/>
                      <a:pt x="143" y="41"/>
                    </a:cubicBezTo>
                    <a:cubicBezTo>
                      <a:pt x="53" y="131"/>
                      <a:pt x="53" y="131"/>
                      <a:pt x="53" y="131"/>
                    </a:cubicBezTo>
                    <a:cubicBezTo>
                      <a:pt x="52" y="131"/>
                      <a:pt x="51" y="132"/>
                      <a:pt x="50" y="132"/>
                    </a:cubicBezTo>
                    <a:cubicBezTo>
                      <a:pt x="8" y="144"/>
                      <a:pt x="8" y="144"/>
                      <a:pt x="8" y="144"/>
                    </a:cubicBezTo>
                    <a:cubicBezTo>
                      <a:pt x="8" y="144"/>
                      <a:pt x="7" y="144"/>
                      <a:pt x="6" y="144"/>
                    </a:cubicBezTo>
                    <a:close/>
                    <a:moveTo>
                      <a:pt x="24" y="100"/>
                    </a:moveTo>
                    <a:cubicBezTo>
                      <a:pt x="15" y="130"/>
                      <a:pt x="15" y="130"/>
                      <a:pt x="15" y="130"/>
                    </a:cubicBezTo>
                    <a:cubicBezTo>
                      <a:pt x="45" y="121"/>
                      <a:pt x="45" y="121"/>
                      <a:pt x="45" y="121"/>
                    </a:cubicBezTo>
                    <a:cubicBezTo>
                      <a:pt x="130" y="36"/>
                      <a:pt x="130" y="36"/>
                      <a:pt x="130" y="36"/>
                    </a:cubicBezTo>
                    <a:cubicBezTo>
                      <a:pt x="108" y="15"/>
                      <a:pt x="108" y="15"/>
                      <a:pt x="108" y="15"/>
                    </a:cubicBezTo>
                    <a:lnTo>
                      <a:pt x="24" y="100"/>
                    </a:lnTo>
                    <a:close/>
                    <a:moveTo>
                      <a:pt x="48" y="126"/>
                    </a:moveTo>
                    <a:cubicBezTo>
                      <a:pt x="48" y="126"/>
                      <a:pt x="48" y="126"/>
                      <a:pt x="48" y="1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 91">
                <a:extLst>
                  <a:ext uri="{FF2B5EF4-FFF2-40B4-BE49-F238E27FC236}">
                    <a16:creationId xmlns:a16="http://schemas.microsoft.com/office/drawing/2014/main" id="{A6245F8A-5D90-0E17-51EE-F3220A672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167" y="3406360"/>
                <a:ext cx="36705" cy="36705"/>
              </a:xfrm>
              <a:custGeom>
                <a:avLst/>
                <a:gdLst>
                  <a:gd name="T0" fmla="*/ 44 w 57"/>
                  <a:gd name="T1" fmla="*/ 57 h 57"/>
                  <a:gd name="T2" fmla="*/ 0 w 57"/>
                  <a:gd name="T3" fmla="*/ 13 h 57"/>
                  <a:gd name="T4" fmla="*/ 13 w 57"/>
                  <a:gd name="T5" fmla="*/ 0 h 57"/>
                  <a:gd name="T6" fmla="*/ 57 w 57"/>
                  <a:gd name="T7" fmla="*/ 44 h 57"/>
                  <a:gd name="T8" fmla="*/ 44 w 57"/>
                  <a:gd name="T9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57">
                    <a:moveTo>
                      <a:pt x="44" y="57"/>
                    </a:moveTo>
                    <a:lnTo>
                      <a:pt x="0" y="13"/>
                    </a:lnTo>
                    <a:lnTo>
                      <a:pt x="13" y="0"/>
                    </a:lnTo>
                    <a:lnTo>
                      <a:pt x="57" y="44"/>
                    </a:lnTo>
                    <a:lnTo>
                      <a:pt x="44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Freeform 92">
                <a:extLst>
                  <a:ext uri="{FF2B5EF4-FFF2-40B4-BE49-F238E27FC236}">
                    <a16:creationId xmlns:a16="http://schemas.microsoft.com/office/drawing/2014/main" id="{17AF1DBD-F088-5707-88BC-7FE00BC88B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129" y="3466891"/>
                <a:ext cx="41212" cy="39925"/>
              </a:xfrm>
              <a:custGeom>
                <a:avLst/>
                <a:gdLst>
                  <a:gd name="T0" fmla="*/ 36 w 43"/>
                  <a:gd name="T1" fmla="*/ 42 h 42"/>
                  <a:gd name="T2" fmla="*/ 32 w 43"/>
                  <a:gd name="T3" fmla="*/ 41 h 42"/>
                  <a:gd name="T4" fmla="*/ 2 w 43"/>
                  <a:gd name="T5" fmla="*/ 11 h 42"/>
                  <a:gd name="T6" fmla="*/ 2 w 43"/>
                  <a:gd name="T7" fmla="*/ 2 h 42"/>
                  <a:gd name="T8" fmla="*/ 11 w 43"/>
                  <a:gd name="T9" fmla="*/ 2 h 42"/>
                  <a:gd name="T10" fmla="*/ 41 w 43"/>
                  <a:gd name="T11" fmla="*/ 32 h 42"/>
                  <a:gd name="T12" fmla="*/ 41 w 43"/>
                  <a:gd name="T13" fmla="*/ 41 h 42"/>
                  <a:gd name="T14" fmla="*/ 36 w 43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42">
                    <a:moveTo>
                      <a:pt x="36" y="42"/>
                    </a:moveTo>
                    <a:cubicBezTo>
                      <a:pt x="35" y="42"/>
                      <a:pt x="33" y="42"/>
                      <a:pt x="32" y="4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0" y="8"/>
                      <a:pt x="0" y="5"/>
                      <a:pt x="2" y="2"/>
                    </a:cubicBezTo>
                    <a:cubicBezTo>
                      <a:pt x="5" y="0"/>
                      <a:pt x="8" y="0"/>
                      <a:pt x="11" y="2"/>
                    </a:cubicBezTo>
                    <a:cubicBezTo>
                      <a:pt x="41" y="32"/>
                      <a:pt x="41" y="32"/>
                      <a:pt x="41" y="32"/>
                    </a:cubicBezTo>
                    <a:cubicBezTo>
                      <a:pt x="43" y="35"/>
                      <a:pt x="43" y="38"/>
                      <a:pt x="41" y="41"/>
                    </a:cubicBezTo>
                    <a:cubicBezTo>
                      <a:pt x="39" y="42"/>
                      <a:pt x="38" y="42"/>
                      <a:pt x="36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 93">
                <a:extLst>
                  <a:ext uri="{FF2B5EF4-FFF2-40B4-BE49-F238E27FC236}">
                    <a16:creationId xmlns:a16="http://schemas.microsoft.com/office/drawing/2014/main" id="{DBA09E6D-09C3-A580-6D14-2AF5844DCE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613" y="3358708"/>
                <a:ext cx="57311" cy="10947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8" y="0"/>
                      <a:pt x="60" y="3"/>
                      <a:pt x="60" y="6"/>
                    </a:cubicBezTo>
                    <a:cubicBezTo>
                      <a:pt x="60" y="10"/>
                      <a:pt x="58" y="12"/>
                      <a:pt x="5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 94">
                <a:extLst>
                  <a:ext uri="{FF2B5EF4-FFF2-40B4-BE49-F238E27FC236}">
                    <a16:creationId xmlns:a16="http://schemas.microsoft.com/office/drawing/2014/main" id="{7ED49765-6B5D-A492-42C4-6BF585FBD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613" y="3404428"/>
                <a:ext cx="57311" cy="10947"/>
              </a:xfrm>
              <a:custGeom>
                <a:avLst/>
                <a:gdLst>
                  <a:gd name="T0" fmla="*/ 54 w 60"/>
                  <a:gd name="T1" fmla="*/ 12 h 12"/>
                  <a:gd name="T2" fmla="*/ 6 w 60"/>
                  <a:gd name="T3" fmla="*/ 12 h 12"/>
                  <a:gd name="T4" fmla="*/ 0 w 60"/>
                  <a:gd name="T5" fmla="*/ 6 h 12"/>
                  <a:gd name="T6" fmla="*/ 6 w 60"/>
                  <a:gd name="T7" fmla="*/ 0 h 12"/>
                  <a:gd name="T8" fmla="*/ 54 w 60"/>
                  <a:gd name="T9" fmla="*/ 0 h 12"/>
                  <a:gd name="T10" fmla="*/ 60 w 60"/>
                  <a:gd name="T11" fmla="*/ 6 h 12"/>
                  <a:gd name="T12" fmla="*/ 54 w 6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12">
                    <a:moveTo>
                      <a:pt x="54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8" y="0"/>
                      <a:pt x="60" y="3"/>
                      <a:pt x="60" y="6"/>
                    </a:cubicBezTo>
                    <a:cubicBezTo>
                      <a:pt x="60" y="10"/>
                      <a:pt x="58" y="12"/>
                      <a:pt x="54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 95">
                <a:extLst>
                  <a:ext uri="{FF2B5EF4-FFF2-40B4-BE49-F238E27FC236}">
                    <a16:creationId xmlns:a16="http://schemas.microsoft.com/office/drawing/2014/main" id="{C0D09A7B-15CC-76DA-8E53-6A493BD40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151" y="3335526"/>
                <a:ext cx="57955" cy="39925"/>
              </a:xfrm>
              <a:custGeom>
                <a:avLst/>
                <a:gdLst>
                  <a:gd name="T0" fmla="*/ 24 w 61"/>
                  <a:gd name="T1" fmla="*/ 42 h 42"/>
                  <a:gd name="T2" fmla="*/ 20 w 61"/>
                  <a:gd name="T3" fmla="*/ 41 h 42"/>
                  <a:gd name="T4" fmla="*/ 2 w 61"/>
                  <a:gd name="T5" fmla="*/ 23 h 42"/>
                  <a:gd name="T6" fmla="*/ 2 w 61"/>
                  <a:gd name="T7" fmla="*/ 14 h 42"/>
                  <a:gd name="T8" fmla="*/ 11 w 61"/>
                  <a:gd name="T9" fmla="*/ 14 h 42"/>
                  <a:gd name="T10" fmla="*/ 24 w 61"/>
                  <a:gd name="T11" fmla="*/ 28 h 42"/>
                  <a:gd name="T12" fmla="*/ 50 w 61"/>
                  <a:gd name="T13" fmla="*/ 2 h 42"/>
                  <a:gd name="T14" fmla="*/ 59 w 61"/>
                  <a:gd name="T15" fmla="*/ 2 h 42"/>
                  <a:gd name="T16" fmla="*/ 59 w 61"/>
                  <a:gd name="T17" fmla="*/ 11 h 42"/>
                  <a:gd name="T18" fmla="*/ 29 w 61"/>
                  <a:gd name="T19" fmla="*/ 41 h 42"/>
                  <a:gd name="T20" fmla="*/ 24 w 61"/>
                  <a:gd name="T21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42">
                    <a:moveTo>
                      <a:pt x="24" y="42"/>
                    </a:moveTo>
                    <a:cubicBezTo>
                      <a:pt x="23" y="42"/>
                      <a:pt x="21" y="42"/>
                      <a:pt x="20" y="41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20"/>
                      <a:pt x="0" y="17"/>
                      <a:pt x="2" y="14"/>
                    </a:cubicBezTo>
                    <a:cubicBezTo>
                      <a:pt x="5" y="12"/>
                      <a:pt x="8" y="12"/>
                      <a:pt x="11" y="14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3" y="0"/>
                      <a:pt x="56" y="0"/>
                      <a:pt x="59" y="2"/>
                    </a:cubicBezTo>
                    <a:cubicBezTo>
                      <a:pt x="61" y="5"/>
                      <a:pt x="61" y="8"/>
                      <a:pt x="59" y="11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8" y="42"/>
                      <a:pt x="26" y="42"/>
                      <a:pt x="24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 96">
                <a:extLst>
                  <a:ext uri="{FF2B5EF4-FFF2-40B4-BE49-F238E27FC236}">
                    <a16:creationId xmlns:a16="http://schemas.microsoft.com/office/drawing/2014/main" id="{D9C865C4-CE12-2165-7CE5-B35C60763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151" y="3381246"/>
                <a:ext cx="57955" cy="41212"/>
              </a:xfrm>
              <a:custGeom>
                <a:avLst/>
                <a:gdLst>
                  <a:gd name="T0" fmla="*/ 24 w 61"/>
                  <a:gd name="T1" fmla="*/ 43 h 43"/>
                  <a:gd name="T2" fmla="*/ 20 w 61"/>
                  <a:gd name="T3" fmla="*/ 41 h 43"/>
                  <a:gd name="T4" fmla="*/ 2 w 61"/>
                  <a:gd name="T5" fmla="*/ 23 h 43"/>
                  <a:gd name="T6" fmla="*/ 2 w 61"/>
                  <a:gd name="T7" fmla="*/ 14 h 43"/>
                  <a:gd name="T8" fmla="*/ 11 w 61"/>
                  <a:gd name="T9" fmla="*/ 14 h 43"/>
                  <a:gd name="T10" fmla="*/ 24 w 61"/>
                  <a:gd name="T11" fmla="*/ 28 h 43"/>
                  <a:gd name="T12" fmla="*/ 50 w 61"/>
                  <a:gd name="T13" fmla="*/ 2 h 43"/>
                  <a:gd name="T14" fmla="*/ 59 w 61"/>
                  <a:gd name="T15" fmla="*/ 2 h 43"/>
                  <a:gd name="T16" fmla="*/ 59 w 61"/>
                  <a:gd name="T17" fmla="*/ 11 h 43"/>
                  <a:gd name="T18" fmla="*/ 29 w 61"/>
                  <a:gd name="T19" fmla="*/ 41 h 43"/>
                  <a:gd name="T20" fmla="*/ 24 w 61"/>
                  <a:gd name="T2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43">
                    <a:moveTo>
                      <a:pt x="24" y="43"/>
                    </a:moveTo>
                    <a:cubicBezTo>
                      <a:pt x="23" y="43"/>
                      <a:pt x="21" y="42"/>
                      <a:pt x="20" y="41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21"/>
                      <a:pt x="0" y="17"/>
                      <a:pt x="2" y="14"/>
                    </a:cubicBezTo>
                    <a:cubicBezTo>
                      <a:pt x="5" y="12"/>
                      <a:pt x="8" y="12"/>
                      <a:pt x="11" y="14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3" y="0"/>
                      <a:pt x="56" y="0"/>
                      <a:pt x="59" y="2"/>
                    </a:cubicBezTo>
                    <a:cubicBezTo>
                      <a:pt x="61" y="5"/>
                      <a:pt x="61" y="9"/>
                      <a:pt x="59" y="11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8" y="42"/>
                      <a:pt x="26" y="43"/>
                      <a:pt x="24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 97">
                <a:extLst>
                  <a:ext uri="{FF2B5EF4-FFF2-40B4-BE49-F238E27FC236}">
                    <a16:creationId xmlns:a16="http://schemas.microsoft.com/office/drawing/2014/main" id="{6AF0ED57-48FA-1040-4A53-A11DE4229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78" y="3244086"/>
                <a:ext cx="194471" cy="251782"/>
              </a:xfrm>
              <a:custGeom>
                <a:avLst/>
                <a:gdLst>
                  <a:gd name="T0" fmla="*/ 108 w 204"/>
                  <a:gd name="T1" fmla="*/ 264 h 264"/>
                  <a:gd name="T2" fmla="*/ 6 w 204"/>
                  <a:gd name="T3" fmla="*/ 264 h 264"/>
                  <a:gd name="T4" fmla="*/ 0 w 204"/>
                  <a:gd name="T5" fmla="*/ 258 h 264"/>
                  <a:gd name="T6" fmla="*/ 0 w 204"/>
                  <a:gd name="T7" fmla="*/ 6 h 264"/>
                  <a:gd name="T8" fmla="*/ 6 w 204"/>
                  <a:gd name="T9" fmla="*/ 0 h 264"/>
                  <a:gd name="T10" fmla="*/ 138 w 204"/>
                  <a:gd name="T11" fmla="*/ 0 h 264"/>
                  <a:gd name="T12" fmla="*/ 143 w 204"/>
                  <a:gd name="T13" fmla="*/ 2 h 264"/>
                  <a:gd name="T14" fmla="*/ 203 w 204"/>
                  <a:gd name="T15" fmla="*/ 62 h 264"/>
                  <a:gd name="T16" fmla="*/ 204 w 204"/>
                  <a:gd name="T17" fmla="*/ 66 h 264"/>
                  <a:gd name="T18" fmla="*/ 204 w 204"/>
                  <a:gd name="T19" fmla="*/ 156 h 264"/>
                  <a:gd name="T20" fmla="*/ 192 w 204"/>
                  <a:gd name="T21" fmla="*/ 156 h 264"/>
                  <a:gd name="T22" fmla="*/ 192 w 204"/>
                  <a:gd name="T23" fmla="*/ 69 h 264"/>
                  <a:gd name="T24" fmla="*/ 136 w 204"/>
                  <a:gd name="T25" fmla="*/ 12 h 264"/>
                  <a:gd name="T26" fmla="*/ 12 w 204"/>
                  <a:gd name="T27" fmla="*/ 12 h 264"/>
                  <a:gd name="T28" fmla="*/ 12 w 204"/>
                  <a:gd name="T29" fmla="*/ 252 h 264"/>
                  <a:gd name="T30" fmla="*/ 108 w 204"/>
                  <a:gd name="T31" fmla="*/ 252 h 264"/>
                  <a:gd name="T32" fmla="*/ 108 w 204"/>
                  <a:gd name="T3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4" h="264">
                    <a:moveTo>
                      <a:pt x="108" y="264"/>
                    </a:moveTo>
                    <a:cubicBezTo>
                      <a:pt x="6" y="264"/>
                      <a:pt x="6" y="264"/>
                      <a:pt x="6" y="264"/>
                    </a:cubicBezTo>
                    <a:cubicBezTo>
                      <a:pt x="3" y="264"/>
                      <a:pt x="0" y="262"/>
                      <a:pt x="0" y="25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38" y="0"/>
                      <a:pt x="138" y="0"/>
                      <a:pt x="138" y="0"/>
                    </a:cubicBezTo>
                    <a:cubicBezTo>
                      <a:pt x="140" y="0"/>
                      <a:pt x="142" y="1"/>
                      <a:pt x="143" y="2"/>
                    </a:cubicBezTo>
                    <a:cubicBezTo>
                      <a:pt x="203" y="62"/>
                      <a:pt x="203" y="62"/>
                      <a:pt x="203" y="62"/>
                    </a:cubicBezTo>
                    <a:cubicBezTo>
                      <a:pt x="204" y="63"/>
                      <a:pt x="204" y="65"/>
                      <a:pt x="204" y="66"/>
                    </a:cubicBezTo>
                    <a:cubicBezTo>
                      <a:pt x="204" y="156"/>
                      <a:pt x="204" y="156"/>
                      <a:pt x="204" y="156"/>
                    </a:cubicBezTo>
                    <a:cubicBezTo>
                      <a:pt x="192" y="156"/>
                      <a:pt x="192" y="156"/>
                      <a:pt x="192" y="156"/>
                    </a:cubicBezTo>
                    <a:cubicBezTo>
                      <a:pt x="192" y="69"/>
                      <a:pt x="192" y="69"/>
                      <a:pt x="192" y="69"/>
                    </a:cubicBezTo>
                    <a:cubicBezTo>
                      <a:pt x="136" y="12"/>
                      <a:pt x="136" y="12"/>
                      <a:pt x="136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252"/>
                      <a:pt x="12" y="252"/>
                      <a:pt x="12" y="252"/>
                    </a:cubicBezTo>
                    <a:cubicBezTo>
                      <a:pt x="108" y="252"/>
                      <a:pt x="108" y="252"/>
                      <a:pt x="108" y="252"/>
                    </a:cubicBezTo>
                    <a:lnTo>
                      <a:pt x="108" y="26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Freeform 98">
                <a:extLst>
                  <a:ext uri="{FF2B5EF4-FFF2-40B4-BE49-F238E27FC236}">
                    <a16:creationId xmlns:a16="http://schemas.microsoft.com/office/drawing/2014/main" id="{1FF7C8A5-9C02-5C97-52B3-136BAEF96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7947" y="3244086"/>
                <a:ext cx="68902" cy="68902"/>
              </a:xfrm>
              <a:custGeom>
                <a:avLst/>
                <a:gdLst>
                  <a:gd name="T0" fmla="*/ 66 w 72"/>
                  <a:gd name="T1" fmla="*/ 72 h 72"/>
                  <a:gd name="T2" fmla="*/ 6 w 72"/>
                  <a:gd name="T3" fmla="*/ 72 h 72"/>
                  <a:gd name="T4" fmla="*/ 0 w 72"/>
                  <a:gd name="T5" fmla="*/ 66 h 72"/>
                  <a:gd name="T6" fmla="*/ 0 w 72"/>
                  <a:gd name="T7" fmla="*/ 6 h 72"/>
                  <a:gd name="T8" fmla="*/ 6 w 72"/>
                  <a:gd name="T9" fmla="*/ 0 h 72"/>
                  <a:gd name="T10" fmla="*/ 12 w 72"/>
                  <a:gd name="T11" fmla="*/ 6 h 72"/>
                  <a:gd name="T12" fmla="*/ 12 w 72"/>
                  <a:gd name="T13" fmla="*/ 60 h 72"/>
                  <a:gd name="T14" fmla="*/ 66 w 72"/>
                  <a:gd name="T15" fmla="*/ 60 h 72"/>
                  <a:gd name="T16" fmla="*/ 72 w 72"/>
                  <a:gd name="T17" fmla="*/ 66 h 72"/>
                  <a:gd name="T18" fmla="*/ 66 w 72"/>
                  <a:gd name="T19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66" y="72"/>
                    </a:moveTo>
                    <a:cubicBezTo>
                      <a:pt x="6" y="72"/>
                      <a:pt x="6" y="72"/>
                      <a:pt x="6" y="72"/>
                    </a:cubicBezTo>
                    <a:cubicBezTo>
                      <a:pt x="3" y="72"/>
                      <a:pt x="0" y="70"/>
                      <a:pt x="0" y="6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10" y="0"/>
                      <a:pt x="12" y="3"/>
                      <a:pt x="12" y="6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70" y="60"/>
                      <a:pt x="72" y="63"/>
                      <a:pt x="72" y="66"/>
                    </a:cubicBezTo>
                    <a:cubicBezTo>
                      <a:pt x="72" y="70"/>
                      <a:pt x="70" y="72"/>
                      <a:pt x="66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48">
                <a:extLst>
                  <a:ext uri="{FF2B5EF4-FFF2-40B4-BE49-F238E27FC236}">
                    <a16:creationId xmlns:a16="http://schemas.microsoft.com/office/drawing/2014/main" id="{8D3B5403-95B6-6C83-7962-3B5484CCDE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2378" y="3679339"/>
                <a:ext cx="194258" cy="189294"/>
              </a:xfrm>
              <a:custGeom>
                <a:avLst/>
                <a:gdLst>
                  <a:gd name="T0" fmla="*/ 102 w 204"/>
                  <a:gd name="T1" fmla="*/ 204 h 204"/>
                  <a:gd name="T2" fmla="*/ 0 w 204"/>
                  <a:gd name="T3" fmla="*/ 102 h 204"/>
                  <a:gd name="T4" fmla="*/ 102 w 204"/>
                  <a:gd name="T5" fmla="*/ 0 h 204"/>
                  <a:gd name="T6" fmla="*/ 204 w 204"/>
                  <a:gd name="T7" fmla="*/ 102 h 204"/>
                  <a:gd name="T8" fmla="*/ 102 w 204"/>
                  <a:gd name="T9" fmla="*/ 204 h 204"/>
                  <a:gd name="T10" fmla="*/ 102 w 204"/>
                  <a:gd name="T11" fmla="*/ 12 h 204"/>
                  <a:gd name="T12" fmla="*/ 12 w 204"/>
                  <a:gd name="T13" fmla="*/ 102 h 204"/>
                  <a:gd name="T14" fmla="*/ 102 w 204"/>
                  <a:gd name="T15" fmla="*/ 192 h 204"/>
                  <a:gd name="T16" fmla="*/ 192 w 204"/>
                  <a:gd name="T17" fmla="*/ 102 h 204"/>
                  <a:gd name="T18" fmla="*/ 102 w 204"/>
                  <a:gd name="T19" fmla="*/ 12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04" h="204">
                    <a:moveTo>
                      <a:pt x="102" y="204"/>
                    </a:moveTo>
                    <a:cubicBezTo>
                      <a:pt x="45" y="204"/>
                      <a:pt x="0" y="158"/>
                      <a:pt x="0" y="102"/>
                    </a:cubicBezTo>
                    <a:cubicBezTo>
                      <a:pt x="0" y="46"/>
                      <a:pt x="45" y="0"/>
                      <a:pt x="102" y="0"/>
                    </a:cubicBezTo>
                    <a:cubicBezTo>
                      <a:pt x="158" y="0"/>
                      <a:pt x="204" y="46"/>
                      <a:pt x="204" y="102"/>
                    </a:cubicBezTo>
                    <a:cubicBezTo>
                      <a:pt x="204" y="158"/>
                      <a:pt x="158" y="204"/>
                      <a:pt x="102" y="204"/>
                    </a:cubicBezTo>
                    <a:close/>
                    <a:moveTo>
                      <a:pt x="102" y="12"/>
                    </a:moveTo>
                    <a:cubicBezTo>
                      <a:pt x="52" y="12"/>
                      <a:pt x="12" y="53"/>
                      <a:pt x="12" y="102"/>
                    </a:cubicBezTo>
                    <a:cubicBezTo>
                      <a:pt x="12" y="152"/>
                      <a:pt x="52" y="192"/>
                      <a:pt x="102" y="192"/>
                    </a:cubicBezTo>
                    <a:cubicBezTo>
                      <a:pt x="151" y="192"/>
                      <a:pt x="192" y="152"/>
                      <a:pt x="192" y="102"/>
                    </a:cubicBezTo>
                    <a:cubicBezTo>
                      <a:pt x="192" y="53"/>
                      <a:pt x="151" y="12"/>
                      <a:pt x="10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49">
                <a:extLst>
                  <a:ext uri="{FF2B5EF4-FFF2-40B4-BE49-F238E27FC236}">
                    <a16:creationId xmlns:a16="http://schemas.microsoft.com/office/drawing/2014/main" id="{AE7AEB93-B154-CEC3-661E-E26207207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536" y="3831395"/>
                <a:ext cx="119162" cy="114817"/>
              </a:xfrm>
              <a:custGeom>
                <a:avLst/>
                <a:gdLst>
                  <a:gd name="T0" fmla="*/ 119 w 125"/>
                  <a:gd name="T1" fmla="*/ 124 h 124"/>
                  <a:gd name="T2" fmla="*/ 114 w 125"/>
                  <a:gd name="T3" fmla="*/ 122 h 124"/>
                  <a:gd name="T4" fmla="*/ 2 w 125"/>
                  <a:gd name="T5" fmla="*/ 10 h 124"/>
                  <a:gd name="T6" fmla="*/ 2 w 125"/>
                  <a:gd name="T7" fmla="*/ 2 h 124"/>
                  <a:gd name="T8" fmla="*/ 11 w 125"/>
                  <a:gd name="T9" fmla="*/ 2 h 124"/>
                  <a:gd name="T10" fmla="*/ 123 w 125"/>
                  <a:gd name="T11" fmla="*/ 114 h 124"/>
                  <a:gd name="T12" fmla="*/ 123 w 125"/>
                  <a:gd name="T13" fmla="*/ 122 h 124"/>
                  <a:gd name="T14" fmla="*/ 119 w 125"/>
                  <a:gd name="T15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5" h="124">
                    <a:moveTo>
                      <a:pt x="119" y="124"/>
                    </a:moveTo>
                    <a:cubicBezTo>
                      <a:pt x="117" y="124"/>
                      <a:pt x="116" y="124"/>
                      <a:pt x="114" y="122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8"/>
                      <a:pt x="0" y="4"/>
                      <a:pt x="2" y="2"/>
                    </a:cubicBezTo>
                    <a:cubicBezTo>
                      <a:pt x="5" y="0"/>
                      <a:pt x="9" y="0"/>
                      <a:pt x="11" y="2"/>
                    </a:cubicBezTo>
                    <a:cubicBezTo>
                      <a:pt x="123" y="114"/>
                      <a:pt x="123" y="114"/>
                      <a:pt x="123" y="114"/>
                    </a:cubicBezTo>
                    <a:cubicBezTo>
                      <a:pt x="125" y="116"/>
                      <a:pt x="125" y="120"/>
                      <a:pt x="123" y="122"/>
                    </a:cubicBezTo>
                    <a:cubicBezTo>
                      <a:pt x="122" y="124"/>
                      <a:pt x="120" y="124"/>
                      <a:pt x="119" y="1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E092F271-D97A-233E-A09C-6A6012C1E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171" y="4599858"/>
                <a:ext cx="225948" cy="248861"/>
              </a:xfrm>
              <a:custGeom>
                <a:avLst/>
                <a:gdLst>
                  <a:gd name="T0" fmla="*/ 234 w 240"/>
                  <a:gd name="T1" fmla="*/ 264 h 264"/>
                  <a:gd name="T2" fmla="*/ 6 w 240"/>
                  <a:gd name="T3" fmla="*/ 264 h 264"/>
                  <a:gd name="T4" fmla="*/ 0 w 240"/>
                  <a:gd name="T5" fmla="*/ 258 h 264"/>
                  <a:gd name="T6" fmla="*/ 0 w 240"/>
                  <a:gd name="T7" fmla="*/ 6 h 264"/>
                  <a:gd name="T8" fmla="*/ 6 w 240"/>
                  <a:gd name="T9" fmla="*/ 0 h 264"/>
                  <a:gd name="T10" fmla="*/ 198 w 240"/>
                  <a:gd name="T11" fmla="*/ 0 h 264"/>
                  <a:gd name="T12" fmla="*/ 204 w 240"/>
                  <a:gd name="T13" fmla="*/ 6 h 264"/>
                  <a:gd name="T14" fmla="*/ 198 w 240"/>
                  <a:gd name="T15" fmla="*/ 12 h 264"/>
                  <a:gd name="T16" fmla="*/ 12 w 240"/>
                  <a:gd name="T17" fmla="*/ 12 h 264"/>
                  <a:gd name="T18" fmla="*/ 12 w 240"/>
                  <a:gd name="T19" fmla="*/ 252 h 264"/>
                  <a:gd name="T20" fmla="*/ 228 w 240"/>
                  <a:gd name="T21" fmla="*/ 252 h 264"/>
                  <a:gd name="T22" fmla="*/ 228 w 240"/>
                  <a:gd name="T23" fmla="*/ 108 h 264"/>
                  <a:gd name="T24" fmla="*/ 234 w 240"/>
                  <a:gd name="T25" fmla="*/ 102 h 264"/>
                  <a:gd name="T26" fmla="*/ 240 w 240"/>
                  <a:gd name="T27" fmla="*/ 108 h 264"/>
                  <a:gd name="T28" fmla="*/ 240 w 240"/>
                  <a:gd name="T29" fmla="*/ 258 h 264"/>
                  <a:gd name="T30" fmla="*/ 234 w 240"/>
                  <a:gd name="T31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0" h="264">
                    <a:moveTo>
                      <a:pt x="234" y="264"/>
                    </a:moveTo>
                    <a:cubicBezTo>
                      <a:pt x="6" y="264"/>
                      <a:pt x="6" y="264"/>
                      <a:pt x="6" y="264"/>
                    </a:cubicBezTo>
                    <a:cubicBezTo>
                      <a:pt x="3" y="264"/>
                      <a:pt x="0" y="261"/>
                      <a:pt x="0" y="25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98" y="0"/>
                      <a:pt x="198" y="0"/>
                      <a:pt x="198" y="0"/>
                    </a:cubicBezTo>
                    <a:cubicBezTo>
                      <a:pt x="202" y="0"/>
                      <a:pt x="204" y="2"/>
                      <a:pt x="204" y="6"/>
                    </a:cubicBezTo>
                    <a:cubicBezTo>
                      <a:pt x="204" y="9"/>
                      <a:pt x="202" y="12"/>
                      <a:pt x="198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252"/>
                      <a:pt x="12" y="252"/>
                      <a:pt x="12" y="252"/>
                    </a:cubicBezTo>
                    <a:cubicBezTo>
                      <a:pt x="228" y="252"/>
                      <a:pt x="228" y="252"/>
                      <a:pt x="228" y="252"/>
                    </a:cubicBezTo>
                    <a:cubicBezTo>
                      <a:pt x="228" y="108"/>
                      <a:pt x="228" y="108"/>
                      <a:pt x="228" y="108"/>
                    </a:cubicBezTo>
                    <a:cubicBezTo>
                      <a:pt x="228" y="104"/>
                      <a:pt x="231" y="102"/>
                      <a:pt x="234" y="102"/>
                    </a:cubicBezTo>
                    <a:cubicBezTo>
                      <a:pt x="238" y="102"/>
                      <a:pt x="240" y="104"/>
                      <a:pt x="240" y="108"/>
                    </a:cubicBezTo>
                    <a:cubicBezTo>
                      <a:pt x="240" y="258"/>
                      <a:pt x="240" y="258"/>
                      <a:pt x="240" y="258"/>
                    </a:cubicBezTo>
                    <a:cubicBezTo>
                      <a:pt x="240" y="261"/>
                      <a:pt x="238" y="264"/>
                      <a:pt x="234" y="2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DA09C9D4-B02B-11A5-A5D8-FFB202B40B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1646" y="4574399"/>
                <a:ext cx="157845" cy="157845"/>
              </a:xfrm>
              <a:custGeom>
                <a:avLst/>
                <a:gdLst>
                  <a:gd name="T0" fmla="*/ 6 w 167"/>
                  <a:gd name="T1" fmla="*/ 167 h 167"/>
                  <a:gd name="T2" fmla="*/ 2 w 167"/>
                  <a:gd name="T3" fmla="*/ 165 h 167"/>
                  <a:gd name="T4" fmla="*/ 1 w 167"/>
                  <a:gd name="T5" fmla="*/ 158 h 167"/>
                  <a:gd name="T6" fmla="*/ 18 w 167"/>
                  <a:gd name="T7" fmla="*/ 124 h 167"/>
                  <a:gd name="T8" fmla="*/ 19 w 167"/>
                  <a:gd name="T9" fmla="*/ 123 h 167"/>
                  <a:gd name="T10" fmla="*/ 133 w 167"/>
                  <a:gd name="T11" fmla="*/ 8 h 167"/>
                  <a:gd name="T12" fmla="*/ 159 w 167"/>
                  <a:gd name="T13" fmla="*/ 8 h 167"/>
                  <a:gd name="T14" fmla="*/ 159 w 167"/>
                  <a:gd name="T15" fmla="*/ 34 h 167"/>
                  <a:gd name="T16" fmla="*/ 44 w 167"/>
                  <a:gd name="T17" fmla="*/ 148 h 167"/>
                  <a:gd name="T18" fmla="*/ 43 w 167"/>
                  <a:gd name="T19" fmla="*/ 149 h 167"/>
                  <a:gd name="T20" fmla="*/ 9 w 167"/>
                  <a:gd name="T21" fmla="*/ 166 h 167"/>
                  <a:gd name="T22" fmla="*/ 6 w 167"/>
                  <a:gd name="T23" fmla="*/ 167 h 167"/>
                  <a:gd name="T24" fmla="*/ 28 w 167"/>
                  <a:gd name="T25" fmla="*/ 130 h 167"/>
                  <a:gd name="T26" fmla="*/ 19 w 167"/>
                  <a:gd name="T27" fmla="*/ 147 h 167"/>
                  <a:gd name="T28" fmla="*/ 36 w 167"/>
                  <a:gd name="T29" fmla="*/ 139 h 167"/>
                  <a:gd name="T30" fmla="*/ 150 w 167"/>
                  <a:gd name="T31" fmla="*/ 25 h 167"/>
                  <a:gd name="T32" fmla="*/ 150 w 167"/>
                  <a:gd name="T33" fmla="*/ 17 h 167"/>
                  <a:gd name="T34" fmla="*/ 142 w 167"/>
                  <a:gd name="T35" fmla="*/ 17 h 167"/>
                  <a:gd name="T36" fmla="*/ 28 w 167"/>
                  <a:gd name="T37" fmla="*/ 130 h 167"/>
                  <a:gd name="T38" fmla="*/ 40 w 167"/>
                  <a:gd name="T39" fmla="*/ 144 h 167"/>
                  <a:gd name="T40" fmla="*/ 40 w 167"/>
                  <a:gd name="T41" fmla="*/ 144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7" h="167">
                    <a:moveTo>
                      <a:pt x="6" y="167"/>
                    </a:moveTo>
                    <a:cubicBezTo>
                      <a:pt x="4" y="167"/>
                      <a:pt x="3" y="166"/>
                      <a:pt x="2" y="165"/>
                    </a:cubicBezTo>
                    <a:cubicBezTo>
                      <a:pt x="0" y="163"/>
                      <a:pt x="0" y="160"/>
                      <a:pt x="1" y="158"/>
                    </a:cubicBezTo>
                    <a:cubicBezTo>
                      <a:pt x="18" y="124"/>
                      <a:pt x="18" y="124"/>
                      <a:pt x="18" y="124"/>
                    </a:cubicBezTo>
                    <a:cubicBezTo>
                      <a:pt x="18" y="124"/>
                      <a:pt x="18" y="123"/>
                      <a:pt x="19" y="123"/>
                    </a:cubicBezTo>
                    <a:cubicBezTo>
                      <a:pt x="133" y="8"/>
                      <a:pt x="133" y="8"/>
                      <a:pt x="133" y="8"/>
                    </a:cubicBezTo>
                    <a:cubicBezTo>
                      <a:pt x="142" y="0"/>
                      <a:pt x="152" y="2"/>
                      <a:pt x="159" y="8"/>
                    </a:cubicBezTo>
                    <a:cubicBezTo>
                      <a:pt x="165" y="14"/>
                      <a:pt x="167" y="25"/>
                      <a:pt x="159" y="34"/>
                    </a:cubicBezTo>
                    <a:cubicBezTo>
                      <a:pt x="44" y="148"/>
                      <a:pt x="44" y="148"/>
                      <a:pt x="44" y="148"/>
                    </a:cubicBezTo>
                    <a:cubicBezTo>
                      <a:pt x="44" y="149"/>
                      <a:pt x="43" y="149"/>
                      <a:pt x="43" y="149"/>
                    </a:cubicBezTo>
                    <a:cubicBezTo>
                      <a:pt x="9" y="166"/>
                      <a:pt x="9" y="166"/>
                      <a:pt x="9" y="166"/>
                    </a:cubicBezTo>
                    <a:cubicBezTo>
                      <a:pt x="8" y="167"/>
                      <a:pt x="7" y="167"/>
                      <a:pt x="6" y="167"/>
                    </a:cubicBezTo>
                    <a:close/>
                    <a:moveTo>
                      <a:pt x="28" y="130"/>
                    </a:moveTo>
                    <a:cubicBezTo>
                      <a:pt x="19" y="147"/>
                      <a:pt x="19" y="147"/>
                      <a:pt x="19" y="147"/>
                    </a:cubicBezTo>
                    <a:cubicBezTo>
                      <a:pt x="36" y="139"/>
                      <a:pt x="36" y="139"/>
                      <a:pt x="36" y="139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4" y="21"/>
                      <a:pt x="151" y="17"/>
                      <a:pt x="150" y="17"/>
                    </a:cubicBezTo>
                    <a:cubicBezTo>
                      <a:pt x="150" y="16"/>
                      <a:pt x="146" y="13"/>
                      <a:pt x="142" y="17"/>
                    </a:cubicBezTo>
                    <a:lnTo>
                      <a:pt x="28" y="130"/>
                    </a:lnTo>
                    <a:close/>
                    <a:moveTo>
                      <a:pt x="40" y="144"/>
                    </a:moveTo>
                    <a:cubicBezTo>
                      <a:pt x="40" y="144"/>
                      <a:pt x="40" y="144"/>
                      <a:pt x="40" y="1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D5B31379-5302-B3DE-691D-235E2AD5C4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210" y="4596676"/>
                <a:ext cx="28641" cy="26732"/>
              </a:xfrm>
              <a:custGeom>
                <a:avLst/>
                <a:gdLst>
                  <a:gd name="T0" fmla="*/ 24 w 30"/>
                  <a:gd name="T1" fmla="*/ 29 h 29"/>
                  <a:gd name="T2" fmla="*/ 19 w 30"/>
                  <a:gd name="T3" fmla="*/ 28 h 29"/>
                  <a:gd name="T4" fmla="*/ 2 w 30"/>
                  <a:gd name="T5" fmla="*/ 11 h 29"/>
                  <a:gd name="T6" fmla="*/ 2 w 30"/>
                  <a:gd name="T7" fmla="*/ 2 h 29"/>
                  <a:gd name="T8" fmla="*/ 11 w 30"/>
                  <a:gd name="T9" fmla="*/ 2 h 29"/>
                  <a:gd name="T10" fmla="*/ 28 w 30"/>
                  <a:gd name="T11" fmla="*/ 19 h 29"/>
                  <a:gd name="T12" fmla="*/ 28 w 30"/>
                  <a:gd name="T13" fmla="*/ 28 h 29"/>
                  <a:gd name="T14" fmla="*/ 24 w 30"/>
                  <a:gd name="T15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9">
                    <a:moveTo>
                      <a:pt x="24" y="29"/>
                    </a:moveTo>
                    <a:cubicBezTo>
                      <a:pt x="22" y="29"/>
                      <a:pt x="20" y="29"/>
                      <a:pt x="19" y="28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0" y="8"/>
                      <a:pt x="0" y="4"/>
                      <a:pt x="2" y="2"/>
                    </a:cubicBezTo>
                    <a:cubicBezTo>
                      <a:pt x="5" y="0"/>
                      <a:pt x="9" y="0"/>
                      <a:pt x="11" y="2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30" y="21"/>
                      <a:pt x="30" y="25"/>
                      <a:pt x="28" y="28"/>
                    </a:cubicBezTo>
                    <a:cubicBezTo>
                      <a:pt x="27" y="29"/>
                      <a:pt x="25" y="29"/>
                      <a:pt x="24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 157">
                <a:extLst>
                  <a:ext uri="{FF2B5EF4-FFF2-40B4-BE49-F238E27FC236}">
                    <a16:creationId xmlns:a16="http://schemas.microsoft.com/office/drawing/2014/main" id="{D3FF1969-6F03-2B84-E478-E14433F574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3803" y="5507607"/>
                <a:ext cx="274320" cy="190153"/>
              </a:xfrm>
              <a:custGeom>
                <a:avLst/>
                <a:gdLst>
                  <a:gd name="T0" fmla="*/ 282 w 288"/>
                  <a:gd name="T1" fmla="*/ 204 h 204"/>
                  <a:gd name="T2" fmla="*/ 6 w 288"/>
                  <a:gd name="T3" fmla="*/ 204 h 204"/>
                  <a:gd name="T4" fmla="*/ 0 w 288"/>
                  <a:gd name="T5" fmla="*/ 198 h 204"/>
                  <a:gd name="T6" fmla="*/ 0 w 288"/>
                  <a:gd name="T7" fmla="*/ 6 h 204"/>
                  <a:gd name="T8" fmla="*/ 6 w 288"/>
                  <a:gd name="T9" fmla="*/ 0 h 204"/>
                  <a:gd name="T10" fmla="*/ 282 w 288"/>
                  <a:gd name="T11" fmla="*/ 0 h 204"/>
                  <a:gd name="T12" fmla="*/ 288 w 288"/>
                  <a:gd name="T13" fmla="*/ 6 h 204"/>
                  <a:gd name="T14" fmla="*/ 288 w 288"/>
                  <a:gd name="T15" fmla="*/ 198 h 204"/>
                  <a:gd name="T16" fmla="*/ 282 w 288"/>
                  <a:gd name="T17" fmla="*/ 204 h 204"/>
                  <a:gd name="T18" fmla="*/ 12 w 288"/>
                  <a:gd name="T19" fmla="*/ 192 h 204"/>
                  <a:gd name="T20" fmla="*/ 276 w 288"/>
                  <a:gd name="T21" fmla="*/ 192 h 204"/>
                  <a:gd name="T22" fmla="*/ 276 w 288"/>
                  <a:gd name="T23" fmla="*/ 12 h 204"/>
                  <a:gd name="T24" fmla="*/ 12 w 288"/>
                  <a:gd name="T25" fmla="*/ 12 h 204"/>
                  <a:gd name="T26" fmla="*/ 12 w 288"/>
                  <a:gd name="T27" fmla="*/ 192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8" h="204">
                    <a:moveTo>
                      <a:pt x="282" y="204"/>
                    </a:moveTo>
                    <a:cubicBezTo>
                      <a:pt x="6" y="204"/>
                      <a:pt x="6" y="204"/>
                      <a:pt x="6" y="204"/>
                    </a:cubicBezTo>
                    <a:cubicBezTo>
                      <a:pt x="3" y="204"/>
                      <a:pt x="0" y="201"/>
                      <a:pt x="0" y="19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198"/>
                      <a:pt x="288" y="198"/>
                      <a:pt x="288" y="198"/>
                    </a:cubicBezTo>
                    <a:cubicBezTo>
                      <a:pt x="288" y="201"/>
                      <a:pt x="285" y="204"/>
                      <a:pt x="282" y="204"/>
                    </a:cubicBezTo>
                    <a:close/>
                    <a:moveTo>
                      <a:pt x="12" y="192"/>
                    </a:moveTo>
                    <a:cubicBezTo>
                      <a:pt x="276" y="192"/>
                      <a:pt x="276" y="192"/>
                      <a:pt x="276" y="192"/>
                    </a:cubicBezTo>
                    <a:cubicBezTo>
                      <a:pt x="276" y="12"/>
                      <a:pt x="276" y="12"/>
                      <a:pt x="276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1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 158">
                <a:extLst>
                  <a:ext uri="{FF2B5EF4-FFF2-40B4-BE49-F238E27FC236}">
                    <a16:creationId xmlns:a16="http://schemas.microsoft.com/office/drawing/2014/main" id="{EC987267-5AF2-9FE4-3AF8-EDAC3706D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741" y="5686538"/>
                <a:ext cx="11222" cy="89777"/>
              </a:xfrm>
              <a:custGeom>
                <a:avLst/>
                <a:gdLst>
                  <a:gd name="T0" fmla="*/ 6 w 12"/>
                  <a:gd name="T1" fmla="*/ 96 h 96"/>
                  <a:gd name="T2" fmla="*/ 0 w 12"/>
                  <a:gd name="T3" fmla="*/ 90 h 96"/>
                  <a:gd name="T4" fmla="*/ 0 w 12"/>
                  <a:gd name="T5" fmla="*/ 6 h 96"/>
                  <a:gd name="T6" fmla="*/ 6 w 12"/>
                  <a:gd name="T7" fmla="*/ 0 h 96"/>
                  <a:gd name="T8" fmla="*/ 12 w 12"/>
                  <a:gd name="T9" fmla="*/ 6 h 96"/>
                  <a:gd name="T10" fmla="*/ 12 w 12"/>
                  <a:gd name="T11" fmla="*/ 90 h 96"/>
                  <a:gd name="T12" fmla="*/ 6 w 12"/>
                  <a:gd name="T1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96">
                    <a:moveTo>
                      <a:pt x="6" y="96"/>
                    </a:moveTo>
                    <a:cubicBezTo>
                      <a:pt x="3" y="96"/>
                      <a:pt x="0" y="93"/>
                      <a:pt x="0" y="9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90"/>
                      <a:pt x="12" y="90"/>
                      <a:pt x="12" y="90"/>
                    </a:cubicBezTo>
                    <a:cubicBezTo>
                      <a:pt x="12" y="93"/>
                      <a:pt x="9" y="96"/>
                      <a:pt x="6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 159">
                <a:extLst>
                  <a:ext uri="{FF2B5EF4-FFF2-40B4-BE49-F238E27FC236}">
                    <a16:creationId xmlns:a16="http://schemas.microsoft.com/office/drawing/2014/main" id="{C49E65FA-260D-DD74-D6C0-1FCAD7FB5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068" y="5685915"/>
                <a:ext cx="173944" cy="91024"/>
              </a:xfrm>
              <a:custGeom>
                <a:avLst/>
                <a:gdLst>
                  <a:gd name="T0" fmla="*/ 175 w 182"/>
                  <a:gd name="T1" fmla="*/ 97 h 98"/>
                  <a:gd name="T2" fmla="*/ 171 w 182"/>
                  <a:gd name="T3" fmla="*/ 95 h 98"/>
                  <a:gd name="T4" fmla="*/ 91 w 182"/>
                  <a:gd name="T5" fmla="*/ 16 h 98"/>
                  <a:gd name="T6" fmla="*/ 11 w 182"/>
                  <a:gd name="T7" fmla="*/ 95 h 98"/>
                  <a:gd name="T8" fmla="*/ 3 w 182"/>
                  <a:gd name="T9" fmla="*/ 95 h 98"/>
                  <a:gd name="T10" fmla="*/ 3 w 182"/>
                  <a:gd name="T11" fmla="*/ 87 h 98"/>
                  <a:gd name="T12" fmla="*/ 87 w 182"/>
                  <a:gd name="T13" fmla="*/ 3 h 98"/>
                  <a:gd name="T14" fmla="*/ 95 w 182"/>
                  <a:gd name="T15" fmla="*/ 3 h 98"/>
                  <a:gd name="T16" fmla="*/ 179 w 182"/>
                  <a:gd name="T17" fmla="*/ 87 h 98"/>
                  <a:gd name="T18" fmla="*/ 179 w 182"/>
                  <a:gd name="T19" fmla="*/ 95 h 98"/>
                  <a:gd name="T20" fmla="*/ 175 w 182"/>
                  <a:gd name="T21" fmla="*/ 97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2" h="98">
                    <a:moveTo>
                      <a:pt x="175" y="97"/>
                    </a:moveTo>
                    <a:cubicBezTo>
                      <a:pt x="174" y="97"/>
                      <a:pt x="172" y="96"/>
                      <a:pt x="171" y="95"/>
                    </a:cubicBezTo>
                    <a:cubicBezTo>
                      <a:pt x="91" y="16"/>
                      <a:pt x="91" y="16"/>
                      <a:pt x="91" y="16"/>
                    </a:cubicBezTo>
                    <a:cubicBezTo>
                      <a:pt x="11" y="95"/>
                      <a:pt x="11" y="95"/>
                      <a:pt x="11" y="95"/>
                    </a:cubicBezTo>
                    <a:cubicBezTo>
                      <a:pt x="9" y="98"/>
                      <a:pt x="5" y="98"/>
                      <a:pt x="3" y="95"/>
                    </a:cubicBezTo>
                    <a:cubicBezTo>
                      <a:pt x="0" y="93"/>
                      <a:pt x="0" y="89"/>
                      <a:pt x="3" y="87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0"/>
                      <a:pt x="93" y="0"/>
                      <a:pt x="95" y="3"/>
                    </a:cubicBezTo>
                    <a:cubicBezTo>
                      <a:pt x="179" y="87"/>
                      <a:pt x="179" y="87"/>
                      <a:pt x="179" y="87"/>
                    </a:cubicBezTo>
                    <a:cubicBezTo>
                      <a:pt x="182" y="89"/>
                      <a:pt x="182" y="93"/>
                      <a:pt x="179" y="95"/>
                    </a:cubicBezTo>
                    <a:cubicBezTo>
                      <a:pt x="178" y="96"/>
                      <a:pt x="177" y="97"/>
                      <a:pt x="175" y="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160">
                <a:extLst>
                  <a:ext uri="{FF2B5EF4-FFF2-40B4-BE49-F238E27FC236}">
                    <a16:creationId xmlns:a16="http://schemas.microsoft.com/office/drawing/2014/main" id="{21904CA3-0022-713E-ABEA-076DF0A69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803" y="5552496"/>
                <a:ext cx="274320" cy="11222"/>
              </a:xfrm>
              <a:custGeom>
                <a:avLst/>
                <a:gdLst>
                  <a:gd name="T0" fmla="*/ 282 w 288"/>
                  <a:gd name="T1" fmla="*/ 12 h 12"/>
                  <a:gd name="T2" fmla="*/ 6 w 288"/>
                  <a:gd name="T3" fmla="*/ 12 h 12"/>
                  <a:gd name="T4" fmla="*/ 0 w 288"/>
                  <a:gd name="T5" fmla="*/ 6 h 12"/>
                  <a:gd name="T6" fmla="*/ 6 w 288"/>
                  <a:gd name="T7" fmla="*/ 0 h 12"/>
                  <a:gd name="T8" fmla="*/ 282 w 288"/>
                  <a:gd name="T9" fmla="*/ 0 h 12"/>
                  <a:gd name="T10" fmla="*/ 288 w 288"/>
                  <a:gd name="T11" fmla="*/ 6 h 12"/>
                  <a:gd name="T12" fmla="*/ 282 w 28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8" h="12">
                    <a:moveTo>
                      <a:pt x="28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82" y="0"/>
                      <a:pt x="282" y="0"/>
                      <a:pt x="282" y="0"/>
                    </a:cubicBezTo>
                    <a:cubicBezTo>
                      <a:pt x="285" y="0"/>
                      <a:pt x="288" y="3"/>
                      <a:pt x="288" y="6"/>
                    </a:cubicBezTo>
                    <a:cubicBezTo>
                      <a:pt x="288" y="9"/>
                      <a:pt x="285" y="12"/>
                      <a:pt x="28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123">
                <a:extLst>
                  <a:ext uri="{FF2B5EF4-FFF2-40B4-BE49-F238E27FC236}">
                    <a16:creationId xmlns:a16="http://schemas.microsoft.com/office/drawing/2014/main" id="{EB354347-8834-A7E1-ACC0-E9B4B4604B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89" y="5937872"/>
                <a:ext cx="159864" cy="144936"/>
              </a:xfrm>
              <a:custGeom>
                <a:avLst/>
                <a:gdLst>
                  <a:gd name="T0" fmla="*/ 66 w 168"/>
                  <a:gd name="T1" fmla="*/ 156 h 156"/>
                  <a:gd name="T2" fmla="*/ 62 w 168"/>
                  <a:gd name="T3" fmla="*/ 154 h 156"/>
                  <a:gd name="T4" fmla="*/ 28 w 168"/>
                  <a:gd name="T5" fmla="*/ 120 h 156"/>
                  <a:gd name="T6" fmla="*/ 18 w 168"/>
                  <a:gd name="T7" fmla="*/ 120 h 156"/>
                  <a:gd name="T8" fmla="*/ 0 w 168"/>
                  <a:gd name="T9" fmla="*/ 102 h 156"/>
                  <a:gd name="T10" fmla="*/ 0 w 168"/>
                  <a:gd name="T11" fmla="*/ 18 h 156"/>
                  <a:gd name="T12" fmla="*/ 18 w 168"/>
                  <a:gd name="T13" fmla="*/ 0 h 156"/>
                  <a:gd name="T14" fmla="*/ 150 w 168"/>
                  <a:gd name="T15" fmla="*/ 0 h 156"/>
                  <a:gd name="T16" fmla="*/ 168 w 168"/>
                  <a:gd name="T17" fmla="*/ 18 h 156"/>
                  <a:gd name="T18" fmla="*/ 168 w 168"/>
                  <a:gd name="T19" fmla="*/ 102 h 156"/>
                  <a:gd name="T20" fmla="*/ 150 w 168"/>
                  <a:gd name="T21" fmla="*/ 120 h 156"/>
                  <a:gd name="T22" fmla="*/ 72 w 168"/>
                  <a:gd name="T23" fmla="*/ 120 h 156"/>
                  <a:gd name="T24" fmla="*/ 72 w 168"/>
                  <a:gd name="T25" fmla="*/ 150 h 156"/>
                  <a:gd name="T26" fmla="*/ 69 w 168"/>
                  <a:gd name="T27" fmla="*/ 156 h 156"/>
                  <a:gd name="T28" fmla="*/ 66 w 168"/>
                  <a:gd name="T29" fmla="*/ 156 h 156"/>
                  <a:gd name="T30" fmla="*/ 18 w 168"/>
                  <a:gd name="T31" fmla="*/ 12 h 156"/>
                  <a:gd name="T32" fmla="*/ 12 w 168"/>
                  <a:gd name="T33" fmla="*/ 18 h 156"/>
                  <a:gd name="T34" fmla="*/ 12 w 168"/>
                  <a:gd name="T35" fmla="*/ 102 h 156"/>
                  <a:gd name="T36" fmla="*/ 18 w 168"/>
                  <a:gd name="T37" fmla="*/ 108 h 156"/>
                  <a:gd name="T38" fmla="*/ 30 w 168"/>
                  <a:gd name="T39" fmla="*/ 108 h 156"/>
                  <a:gd name="T40" fmla="*/ 34 w 168"/>
                  <a:gd name="T41" fmla="*/ 110 h 156"/>
                  <a:gd name="T42" fmla="*/ 60 w 168"/>
                  <a:gd name="T43" fmla="*/ 136 h 156"/>
                  <a:gd name="T44" fmla="*/ 60 w 168"/>
                  <a:gd name="T45" fmla="*/ 114 h 156"/>
                  <a:gd name="T46" fmla="*/ 66 w 168"/>
                  <a:gd name="T47" fmla="*/ 108 h 156"/>
                  <a:gd name="T48" fmla="*/ 150 w 168"/>
                  <a:gd name="T49" fmla="*/ 108 h 156"/>
                  <a:gd name="T50" fmla="*/ 156 w 168"/>
                  <a:gd name="T51" fmla="*/ 102 h 156"/>
                  <a:gd name="T52" fmla="*/ 156 w 168"/>
                  <a:gd name="T53" fmla="*/ 18 h 156"/>
                  <a:gd name="T54" fmla="*/ 150 w 168"/>
                  <a:gd name="T55" fmla="*/ 12 h 156"/>
                  <a:gd name="T56" fmla="*/ 18 w 168"/>
                  <a:gd name="T57" fmla="*/ 12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8" h="156">
                    <a:moveTo>
                      <a:pt x="66" y="156"/>
                    </a:moveTo>
                    <a:cubicBezTo>
                      <a:pt x="65" y="156"/>
                      <a:pt x="63" y="156"/>
                      <a:pt x="62" y="154"/>
                    </a:cubicBezTo>
                    <a:cubicBezTo>
                      <a:pt x="28" y="120"/>
                      <a:pt x="28" y="120"/>
                      <a:pt x="28" y="120"/>
                    </a:cubicBezTo>
                    <a:cubicBezTo>
                      <a:pt x="18" y="120"/>
                      <a:pt x="18" y="120"/>
                      <a:pt x="18" y="120"/>
                    </a:cubicBezTo>
                    <a:cubicBezTo>
                      <a:pt x="8" y="120"/>
                      <a:pt x="0" y="112"/>
                      <a:pt x="0" y="102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50" y="0"/>
                      <a:pt x="150" y="0"/>
                      <a:pt x="150" y="0"/>
                    </a:cubicBezTo>
                    <a:cubicBezTo>
                      <a:pt x="160" y="0"/>
                      <a:pt x="168" y="8"/>
                      <a:pt x="168" y="18"/>
                    </a:cubicBezTo>
                    <a:cubicBezTo>
                      <a:pt x="168" y="102"/>
                      <a:pt x="168" y="102"/>
                      <a:pt x="168" y="102"/>
                    </a:cubicBezTo>
                    <a:cubicBezTo>
                      <a:pt x="168" y="112"/>
                      <a:pt x="160" y="120"/>
                      <a:pt x="150" y="120"/>
                    </a:cubicBezTo>
                    <a:cubicBezTo>
                      <a:pt x="72" y="120"/>
                      <a:pt x="72" y="120"/>
                      <a:pt x="72" y="120"/>
                    </a:cubicBezTo>
                    <a:cubicBezTo>
                      <a:pt x="72" y="150"/>
                      <a:pt x="72" y="150"/>
                      <a:pt x="72" y="150"/>
                    </a:cubicBezTo>
                    <a:cubicBezTo>
                      <a:pt x="72" y="153"/>
                      <a:pt x="71" y="155"/>
                      <a:pt x="69" y="156"/>
                    </a:cubicBezTo>
                    <a:cubicBezTo>
                      <a:pt x="68" y="156"/>
                      <a:pt x="67" y="156"/>
                      <a:pt x="66" y="156"/>
                    </a:cubicBezTo>
                    <a:close/>
                    <a:moveTo>
                      <a:pt x="18" y="12"/>
                    </a:moveTo>
                    <a:cubicBezTo>
                      <a:pt x="15" y="12"/>
                      <a:pt x="12" y="15"/>
                      <a:pt x="12" y="18"/>
                    </a:cubicBezTo>
                    <a:cubicBezTo>
                      <a:pt x="12" y="102"/>
                      <a:pt x="12" y="102"/>
                      <a:pt x="12" y="102"/>
                    </a:cubicBezTo>
                    <a:cubicBezTo>
                      <a:pt x="12" y="105"/>
                      <a:pt x="15" y="108"/>
                      <a:pt x="18" y="108"/>
                    </a:cubicBezTo>
                    <a:cubicBezTo>
                      <a:pt x="30" y="108"/>
                      <a:pt x="30" y="108"/>
                      <a:pt x="30" y="108"/>
                    </a:cubicBezTo>
                    <a:cubicBezTo>
                      <a:pt x="32" y="108"/>
                      <a:pt x="33" y="109"/>
                      <a:pt x="34" y="110"/>
                    </a:cubicBezTo>
                    <a:cubicBezTo>
                      <a:pt x="60" y="136"/>
                      <a:pt x="60" y="136"/>
                      <a:pt x="60" y="136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60" y="111"/>
                      <a:pt x="63" y="108"/>
                      <a:pt x="66" y="108"/>
                    </a:cubicBezTo>
                    <a:cubicBezTo>
                      <a:pt x="150" y="108"/>
                      <a:pt x="150" y="108"/>
                      <a:pt x="150" y="108"/>
                    </a:cubicBezTo>
                    <a:cubicBezTo>
                      <a:pt x="154" y="108"/>
                      <a:pt x="156" y="105"/>
                      <a:pt x="156" y="102"/>
                    </a:cubicBezTo>
                    <a:cubicBezTo>
                      <a:pt x="156" y="18"/>
                      <a:pt x="156" y="18"/>
                      <a:pt x="156" y="18"/>
                    </a:cubicBezTo>
                    <a:cubicBezTo>
                      <a:pt x="156" y="15"/>
                      <a:pt x="154" y="12"/>
                      <a:pt x="15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124">
                <a:extLst>
                  <a:ext uri="{FF2B5EF4-FFF2-40B4-BE49-F238E27FC236}">
                    <a16:creationId xmlns:a16="http://schemas.microsoft.com/office/drawing/2014/main" id="{1C34F59A-6734-AD04-1C8A-778AD98B56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9139" y="6060414"/>
                <a:ext cx="68424" cy="67181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50"/>
                      <a:pt x="23" y="60"/>
                      <a:pt x="36" y="60"/>
                    </a:cubicBezTo>
                    <a:cubicBezTo>
                      <a:pt x="49" y="60"/>
                      <a:pt x="60" y="50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125">
                <a:extLst>
                  <a:ext uri="{FF2B5EF4-FFF2-40B4-BE49-F238E27FC236}">
                    <a16:creationId xmlns:a16="http://schemas.microsoft.com/office/drawing/2014/main" id="{543C4EEB-0A78-82B9-B0CC-F92DCA2695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2344" y="6116398"/>
                <a:ext cx="102637" cy="55362"/>
              </a:xfrm>
              <a:custGeom>
                <a:avLst/>
                <a:gdLst>
                  <a:gd name="T0" fmla="*/ 102 w 108"/>
                  <a:gd name="T1" fmla="*/ 60 h 60"/>
                  <a:gd name="T2" fmla="*/ 6 w 108"/>
                  <a:gd name="T3" fmla="*/ 60 h 60"/>
                  <a:gd name="T4" fmla="*/ 0 w 108"/>
                  <a:gd name="T5" fmla="*/ 54 h 60"/>
                  <a:gd name="T6" fmla="*/ 54 w 108"/>
                  <a:gd name="T7" fmla="*/ 0 h 60"/>
                  <a:gd name="T8" fmla="*/ 108 w 108"/>
                  <a:gd name="T9" fmla="*/ 54 h 60"/>
                  <a:gd name="T10" fmla="*/ 102 w 108"/>
                  <a:gd name="T11" fmla="*/ 60 h 60"/>
                  <a:gd name="T12" fmla="*/ 13 w 108"/>
                  <a:gd name="T13" fmla="*/ 48 h 60"/>
                  <a:gd name="T14" fmla="*/ 96 w 108"/>
                  <a:gd name="T15" fmla="*/ 48 h 60"/>
                  <a:gd name="T16" fmla="*/ 54 w 108"/>
                  <a:gd name="T17" fmla="*/ 12 h 60"/>
                  <a:gd name="T18" fmla="*/ 13 w 108"/>
                  <a:gd name="T19" fmla="*/ 4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8" h="60">
                    <a:moveTo>
                      <a:pt x="102" y="60"/>
                    </a:moveTo>
                    <a:cubicBezTo>
                      <a:pt x="6" y="60"/>
                      <a:pt x="6" y="60"/>
                      <a:pt x="6" y="60"/>
                    </a:cubicBezTo>
                    <a:cubicBezTo>
                      <a:pt x="3" y="60"/>
                      <a:pt x="0" y="58"/>
                      <a:pt x="0" y="54"/>
                    </a:cubicBezTo>
                    <a:cubicBezTo>
                      <a:pt x="0" y="25"/>
                      <a:pt x="24" y="0"/>
                      <a:pt x="54" y="0"/>
                    </a:cubicBezTo>
                    <a:cubicBezTo>
                      <a:pt x="84" y="0"/>
                      <a:pt x="108" y="25"/>
                      <a:pt x="108" y="54"/>
                    </a:cubicBezTo>
                    <a:cubicBezTo>
                      <a:pt x="108" y="58"/>
                      <a:pt x="106" y="60"/>
                      <a:pt x="102" y="60"/>
                    </a:cubicBezTo>
                    <a:close/>
                    <a:moveTo>
                      <a:pt x="13" y="48"/>
                    </a:moveTo>
                    <a:cubicBezTo>
                      <a:pt x="96" y="48"/>
                      <a:pt x="96" y="48"/>
                      <a:pt x="96" y="48"/>
                    </a:cubicBezTo>
                    <a:cubicBezTo>
                      <a:pt x="93" y="28"/>
                      <a:pt x="75" y="12"/>
                      <a:pt x="54" y="12"/>
                    </a:cubicBezTo>
                    <a:cubicBezTo>
                      <a:pt x="33" y="12"/>
                      <a:pt x="16" y="28"/>
                      <a:pt x="13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126">
                <a:extLst>
                  <a:ext uri="{FF2B5EF4-FFF2-40B4-BE49-F238E27FC236}">
                    <a16:creationId xmlns:a16="http://schemas.microsoft.com/office/drawing/2014/main" id="{6DF3B395-EBB7-353B-31CF-5A45B55E65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8078" y="6060414"/>
                <a:ext cx="68424" cy="67181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50"/>
                      <a:pt x="23" y="60"/>
                      <a:pt x="36" y="60"/>
                    </a:cubicBezTo>
                    <a:cubicBezTo>
                      <a:pt x="49" y="60"/>
                      <a:pt x="60" y="50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127">
                <a:extLst>
                  <a:ext uri="{FF2B5EF4-FFF2-40B4-BE49-F238E27FC236}">
                    <a16:creationId xmlns:a16="http://schemas.microsoft.com/office/drawing/2014/main" id="{8EF1A483-EF4B-D54E-CB35-E5DA43F371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0661" y="6116398"/>
                <a:ext cx="102637" cy="55362"/>
              </a:xfrm>
              <a:custGeom>
                <a:avLst/>
                <a:gdLst>
                  <a:gd name="T0" fmla="*/ 102 w 108"/>
                  <a:gd name="T1" fmla="*/ 60 h 60"/>
                  <a:gd name="T2" fmla="*/ 6 w 108"/>
                  <a:gd name="T3" fmla="*/ 60 h 60"/>
                  <a:gd name="T4" fmla="*/ 0 w 108"/>
                  <a:gd name="T5" fmla="*/ 54 h 60"/>
                  <a:gd name="T6" fmla="*/ 54 w 108"/>
                  <a:gd name="T7" fmla="*/ 0 h 60"/>
                  <a:gd name="T8" fmla="*/ 108 w 108"/>
                  <a:gd name="T9" fmla="*/ 54 h 60"/>
                  <a:gd name="T10" fmla="*/ 102 w 108"/>
                  <a:gd name="T11" fmla="*/ 60 h 60"/>
                  <a:gd name="T12" fmla="*/ 13 w 108"/>
                  <a:gd name="T13" fmla="*/ 48 h 60"/>
                  <a:gd name="T14" fmla="*/ 96 w 108"/>
                  <a:gd name="T15" fmla="*/ 48 h 60"/>
                  <a:gd name="T16" fmla="*/ 54 w 108"/>
                  <a:gd name="T17" fmla="*/ 12 h 60"/>
                  <a:gd name="T18" fmla="*/ 13 w 108"/>
                  <a:gd name="T19" fmla="*/ 4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8" h="60">
                    <a:moveTo>
                      <a:pt x="102" y="60"/>
                    </a:moveTo>
                    <a:cubicBezTo>
                      <a:pt x="6" y="60"/>
                      <a:pt x="6" y="60"/>
                      <a:pt x="6" y="60"/>
                    </a:cubicBezTo>
                    <a:cubicBezTo>
                      <a:pt x="3" y="60"/>
                      <a:pt x="0" y="58"/>
                      <a:pt x="0" y="54"/>
                    </a:cubicBezTo>
                    <a:cubicBezTo>
                      <a:pt x="0" y="25"/>
                      <a:pt x="24" y="0"/>
                      <a:pt x="54" y="0"/>
                    </a:cubicBezTo>
                    <a:cubicBezTo>
                      <a:pt x="84" y="0"/>
                      <a:pt x="108" y="25"/>
                      <a:pt x="108" y="54"/>
                    </a:cubicBezTo>
                    <a:cubicBezTo>
                      <a:pt x="108" y="58"/>
                      <a:pt x="106" y="60"/>
                      <a:pt x="102" y="60"/>
                    </a:cubicBezTo>
                    <a:close/>
                    <a:moveTo>
                      <a:pt x="13" y="48"/>
                    </a:moveTo>
                    <a:cubicBezTo>
                      <a:pt x="96" y="48"/>
                      <a:pt x="96" y="48"/>
                      <a:pt x="96" y="48"/>
                    </a:cubicBezTo>
                    <a:cubicBezTo>
                      <a:pt x="93" y="28"/>
                      <a:pt x="75" y="12"/>
                      <a:pt x="54" y="12"/>
                    </a:cubicBezTo>
                    <a:cubicBezTo>
                      <a:pt x="33" y="12"/>
                      <a:pt x="16" y="28"/>
                      <a:pt x="13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128">
                <a:extLst>
                  <a:ext uri="{FF2B5EF4-FFF2-40B4-BE49-F238E27FC236}">
                    <a16:creationId xmlns:a16="http://schemas.microsoft.com/office/drawing/2014/main" id="{1E3F544F-8BC1-469D-14C5-AC55644614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3298" y="6094005"/>
                <a:ext cx="69047" cy="66558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3"/>
                      <a:pt x="12" y="36"/>
                    </a:cubicBezTo>
                    <a:cubicBezTo>
                      <a:pt x="12" y="50"/>
                      <a:pt x="23" y="60"/>
                      <a:pt x="36" y="60"/>
                    </a:cubicBezTo>
                    <a:cubicBezTo>
                      <a:pt x="49" y="60"/>
                      <a:pt x="60" y="50"/>
                      <a:pt x="60" y="36"/>
                    </a:cubicBezTo>
                    <a:cubicBezTo>
                      <a:pt x="60" y="23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129">
                <a:extLst>
                  <a:ext uri="{FF2B5EF4-FFF2-40B4-BE49-F238E27FC236}">
                    <a16:creationId xmlns:a16="http://schemas.microsoft.com/office/drawing/2014/main" id="{C19BEA94-15E2-CE06-E05D-6B992CAB31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6503" y="6149366"/>
                <a:ext cx="102637" cy="55984"/>
              </a:xfrm>
              <a:custGeom>
                <a:avLst/>
                <a:gdLst>
                  <a:gd name="T0" fmla="*/ 102 w 108"/>
                  <a:gd name="T1" fmla="*/ 60 h 60"/>
                  <a:gd name="T2" fmla="*/ 6 w 108"/>
                  <a:gd name="T3" fmla="*/ 60 h 60"/>
                  <a:gd name="T4" fmla="*/ 0 w 108"/>
                  <a:gd name="T5" fmla="*/ 54 h 60"/>
                  <a:gd name="T6" fmla="*/ 54 w 108"/>
                  <a:gd name="T7" fmla="*/ 0 h 60"/>
                  <a:gd name="T8" fmla="*/ 108 w 108"/>
                  <a:gd name="T9" fmla="*/ 54 h 60"/>
                  <a:gd name="T10" fmla="*/ 102 w 108"/>
                  <a:gd name="T11" fmla="*/ 60 h 60"/>
                  <a:gd name="T12" fmla="*/ 13 w 108"/>
                  <a:gd name="T13" fmla="*/ 48 h 60"/>
                  <a:gd name="T14" fmla="*/ 96 w 108"/>
                  <a:gd name="T15" fmla="*/ 48 h 60"/>
                  <a:gd name="T16" fmla="*/ 54 w 108"/>
                  <a:gd name="T17" fmla="*/ 12 h 60"/>
                  <a:gd name="T18" fmla="*/ 13 w 108"/>
                  <a:gd name="T19" fmla="*/ 4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8" h="60">
                    <a:moveTo>
                      <a:pt x="102" y="60"/>
                    </a:moveTo>
                    <a:cubicBezTo>
                      <a:pt x="6" y="60"/>
                      <a:pt x="6" y="60"/>
                      <a:pt x="6" y="60"/>
                    </a:cubicBezTo>
                    <a:cubicBezTo>
                      <a:pt x="3" y="60"/>
                      <a:pt x="0" y="58"/>
                      <a:pt x="0" y="54"/>
                    </a:cubicBezTo>
                    <a:cubicBezTo>
                      <a:pt x="0" y="25"/>
                      <a:pt x="24" y="0"/>
                      <a:pt x="54" y="0"/>
                    </a:cubicBezTo>
                    <a:cubicBezTo>
                      <a:pt x="84" y="0"/>
                      <a:pt x="108" y="25"/>
                      <a:pt x="108" y="54"/>
                    </a:cubicBezTo>
                    <a:cubicBezTo>
                      <a:pt x="108" y="58"/>
                      <a:pt x="106" y="60"/>
                      <a:pt x="102" y="60"/>
                    </a:cubicBezTo>
                    <a:close/>
                    <a:moveTo>
                      <a:pt x="13" y="48"/>
                    </a:moveTo>
                    <a:cubicBezTo>
                      <a:pt x="96" y="48"/>
                      <a:pt x="96" y="48"/>
                      <a:pt x="96" y="48"/>
                    </a:cubicBezTo>
                    <a:cubicBezTo>
                      <a:pt x="93" y="28"/>
                      <a:pt x="75" y="12"/>
                      <a:pt x="54" y="12"/>
                    </a:cubicBezTo>
                    <a:cubicBezTo>
                      <a:pt x="33" y="12"/>
                      <a:pt x="16" y="28"/>
                      <a:pt x="13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130">
                <a:extLst>
                  <a:ext uri="{FF2B5EF4-FFF2-40B4-BE49-F238E27FC236}">
                    <a16:creationId xmlns:a16="http://schemas.microsoft.com/office/drawing/2014/main" id="{724F204F-3857-8102-76CB-7F16AB323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101" y="5960266"/>
                <a:ext cx="91440" cy="11197"/>
              </a:xfrm>
              <a:custGeom>
                <a:avLst/>
                <a:gdLst>
                  <a:gd name="T0" fmla="*/ 90 w 96"/>
                  <a:gd name="T1" fmla="*/ 12 h 12"/>
                  <a:gd name="T2" fmla="*/ 6 w 96"/>
                  <a:gd name="T3" fmla="*/ 12 h 12"/>
                  <a:gd name="T4" fmla="*/ 0 w 96"/>
                  <a:gd name="T5" fmla="*/ 6 h 12"/>
                  <a:gd name="T6" fmla="*/ 6 w 96"/>
                  <a:gd name="T7" fmla="*/ 0 h 12"/>
                  <a:gd name="T8" fmla="*/ 90 w 96"/>
                  <a:gd name="T9" fmla="*/ 0 h 12"/>
                  <a:gd name="T10" fmla="*/ 96 w 96"/>
                  <a:gd name="T11" fmla="*/ 6 h 12"/>
                  <a:gd name="T12" fmla="*/ 90 w 96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2">
                    <a:moveTo>
                      <a:pt x="90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3"/>
                      <a:pt x="96" y="6"/>
                    </a:cubicBezTo>
                    <a:cubicBezTo>
                      <a:pt x="96" y="9"/>
                      <a:pt x="93" y="12"/>
                      <a:pt x="9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 131">
                <a:extLst>
                  <a:ext uri="{FF2B5EF4-FFF2-40B4-BE49-F238E27FC236}">
                    <a16:creationId xmlns:a16="http://schemas.microsoft.com/office/drawing/2014/main" id="{25597FD9-7731-F984-3F0D-1ABAF7594D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101" y="5982659"/>
                <a:ext cx="91440" cy="11197"/>
              </a:xfrm>
              <a:custGeom>
                <a:avLst/>
                <a:gdLst>
                  <a:gd name="T0" fmla="*/ 90 w 96"/>
                  <a:gd name="T1" fmla="*/ 12 h 12"/>
                  <a:gd name="T2" fmla="*/ 6 w 96"/>
                  <a:gd name="T3" fmla="*/ 12 h 12"/>
                  <a:gd name="T4" fmla="*/ 0 w 96"/>
                  <a:gd name="T5" fmla="*/ 6 h 12"/>
                  <a:gd name="T6" fmla="*/ 6 w 96"/>
                  <a:gd name="T7" fmla="*/ 0 h 12"/>
                  <a:gd name="T8" fmla="*/ 90 w 96"/>
                  <a:gd name="T9" fmla="*/ 0 h 12"/>
                  <a:gd name="T10" fmla="*/ 96 w 96"/>
                  <a:gd name="T11" fmla="*/ 6 h 12"/>
                  <a:gd name="T12" fmla="*/ 90 w 96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2">
                    <a:moveTo>
                      <a:pt x="90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3"/>
                      <a:pt x="96" y="6"/>
                    </a:cubicBezTo>
                    <a:cubicBezTo>
                      <a:pt x="96" y="9"/>
                      <a:pt x="93" y="12"/>
                      <a:pt x="9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132">
                <a:extLst>
                  <a:ext uri="{FF2B5EF4-FFF2-40B4-BE49-F238E27FC236}">
                    <a16:creationId xmlns:a16="http://schemas.microsoft.com/office/drawing/2014/main" id="{60156E2C-BCFA-E2CF-81D8-F3282BD8A6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2101" y="6005053"/>
                <a:ext cx="91440" cy="10575"/>
              </a:xfrm>
              <a:custGeom>
                <a:avLst/>
                <a:gdLst>
                  <a:gd name="T0" fmla="*/ 90 w 96"/>
                  <a:gd name="T1" fmla="*/ 12 h 12"/>
                  <a:gd name="T2" fmla="*/ 6 w 96"/>
                  <a:gd name="T3" fmla="*/ 12 h 12"/>
                  <a:gd name="T4" fmla="*/ 0 w 96"/>
                  <a:gd name="T5" fmla="*/ 6 h 12"/>
                  <a:gd name="T6" fmla="*/ 6 w 96"/>
                  <a:gd name="T7" fmla="*/ 0 h 12"/>
                  <a:gd name="T8" fmla="*/ 90 w 96"/>
                  <a:gd name="T9" fmla="*/ 0 h 12"/>
                  <a:gd name="T10" fmla="*/ 96 w 96"/>
                  <a:gd name="T11" fmla="*/ 6 h 12"/>
                  <a:gd name="T12" fmla="*/ 90 w 96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12">
                    <a:moveTo>
                      <a:pt x="90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93" y="0"/>
                      <a:pt x="96" y="3"/>
                      <a:pt x="96" y="6"/>
                    </a:cubicBezTo>
                    <a:cubicBezTo>
                      <a:pt x="96" y="9"/>
                      <a:pt x="93" y="12"/>
                      <a:pt x="90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45">
                <a:extLst>
                  <a:ext uri="{FF2B5EF4-FFF2-40B4-BE49-F238E27FC236}">
                    <a16:creationId xmlns:a16="http://schemas.microsoft.com/office/drawing/2014/main" id="{531375ED-2C0D-B982-F376-120CD93879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5846" y="6529956"/>
                <a:ext cx="70053" cy="70053"/>
              </a:xfrm>
              <a:custGeom>
                <a:avLst/>
                <a:gdLst>
                  <a:gd name="T0" fmla="*/ 36 w 72"/>
                  <a:gd name="T1" fmla="*/ 72 h 72"/>
                  <a:gd name="T2" fmla="*/ 0 w 72"/>
                  <a:gd name="T3" fmla="*/ 36 h 72"/>
                  <a:gd name="T4" fmla="*/ 36 w 72"/>
                  <a:gd name="T5" fmla="*/ 0 h 72"/>
                  <a:gd name="T6" fmla="*/ 72 w 72"/>
                  <a:gd name="T7" fmla="*/ 36 h 72"/>
                  <a:gd name="T8" fmla="*/ 36 w 72"/>
                  <a:gd name="T9" fmla="*/ 72 h 72"/>
                  <a:gd name="T10" fmla="*/ 36 w 72"/>
                  <a:gd name="T11" fmla="*/ 12 h 72"/>
                  <a:gd name="T12" fmla="*/ 12 w 72"/>
                  <a:gd name="T13" fmla="*/ 36 h 72"/>
                  <a:gd name="T14" fmla="*/ 36 w 72"/>
                  <a:gd name="T15" fmla="*/ 60 h 72"/>
                  <a:gd name="T16" fmla="*/ 60 w 72"/>
                  <a:gd name="T17" fmla="*/ 36 h 72"/>
                  <a:gd name="T18" fmla="*/ 36 w 72"/>
                  <a:gd name="T1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2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2" y="16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lose/>
                    <a:moveTo>
                      <a:pt x="36" y="12"/>
                    </a:moveTo>
                    <a:cubicBezTo>
                      <a:pt x="23" y="12"/>
                      <a:pt x="12" y="22"/>
                      <a:pt x="12" y="36"/>
                    </a:cubicBezTo>
                    <a:cubicBezTo>
                      <a:pt x="12" y="49"/>
                      <a:pt x="23" y="60"/>
                      <a:pt x="36" y="60"/>
                    </a:cubicBezTo>
                    <a:cubicBezTo>
                      <a:pt x="49" y="60"/>
                      <a:pt x="60" y="49"/>
                      <a:pt x="60" y="36"/>
                    </a:cubicBezTo>
                    <a:cubicBezTo>
                      <a:pt x="60" y="22"/>
                      <a:pt x="49" y="12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46">
                <a:extLst>
                  <a:ext uri="{FF2B5EF4-FFF2-40B4-BE49-F238E27FC236}">
                    <a16:creationId xmlns:a16="http://schemas.microsoft.com/office/drawing/2014/main" id="{95A94013-37EE-D5B5-E599-8FD6A3A252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147" y="6366280"/>
                <a:ext cx="274320" cy="268428"/>
              </a:xfrm>
              <a:custGeom>
                <a:avLst/>
                <a:gdLst>
                  <a:gd name="T0" fmla="*/ 72 w 283"/>
                  <a:gd name="T1" fmla="*/ 277 h 277"/>
                  <a:gd name="T2" fmla="*/ 0 w 283"/>
                  <a:gd name="T3" fmla="*/ 205 h 277"/>
                  <a:gd name="T4" fmla="*/ 72 w 283"/>
                  <a:gd name="T5" fmla="*/ 133 h 277"/>
                  <a:gd name="T6" fmla="*/ 104 w 283"/>
                  <a:gd name="T7" fmla="*/ 140 h 277"/>
                  <a:gd name="T8" fmla="*/ 236 w 283"/>
                  <a:gd name="T9" fmla="*/ 8 h 277"/>
                  <a:gd name="T10" fmla="*/ 268 w 283"/>
                  <a:gd name="T11" fmla="*/ 8 h 277"/>
                  <a:gd name="T12" fmla="*/ 275 w 283"/>
                  <a:gd name="T13" fmla="*/ 25 h 277"/>
                  <a:gd name="T14" fmla="*/ 268 w 283"/>
                  <a:gd name="T15" fmla="*/ 41 h 277"/>
                  <a:gd name="T16" fmla="*/ 255 w 283"/>
                  <a:gd name="T17" fmla="*/ 55 h 277"/>
                  <a:gd name="T18" fmla="*/ 280 w 283"/>
                  <a:gd name="T19" fmla="*/ 80 h 277"/>
                  <a:gd name="T20" fmla="*/ 280 w 283"/>
                  <a:gd name="T21" fmla="*/ 89 h 277"/>
                  <a:gd name="T22" fmla="*/ 262 w 283"/>
                  <a:gd name="T23" fmla="*/ 107 h 277"/>
                  <a:gd name="T24" fmla="*/ 254 w 283"/>
                  <a:gd name="T25" fmla="*/ 107 h 277"/>
                  <a:gd name="T26" fmla="*/ 228 w 283"/>
                  <a:gd name="T27" fmla="*/ 81 h 277"/>
                  <a:gd name="T28" fmla="*/ 219 w 283"/>
                  <a:gd name="T29" fmla="*/ 91 h 277"/>
                  <a:gd name="T30" fmla="*/ 238 w 283"/>
                  <a:gd name="T31" fmla="*/ 110 h 277"/>
                  <a:gd name="T32" fmla="*/ 238 w 283"/>
                  <a:gd name="T33" fmla="*/ 119 h 277"/>
                  <a:gd name="T34" fmla="*/ 220 w 283"/>
                  <a:gd name="T35" fmla="*/ 137 h 277"/>
                  <a:gd name="T36" fmla="*/ 212 w 283"/>
                  <a:gd name="T37" fmla="*/ 137 h 277"/>
                  <a:gd name="T38" fmla="*/ 192 w 283"/>
                  <a:gd name="T39" fmla="*/ 117 h 277"/>
                  <a:gd name="T40" fmla="*/ 136 w 283"/>
                  <a:gd name="T41" fmla="*/ 173 h 277"/>
                  <a:gd name="T42" fmla="*/ 144 w 283"/>
                  <a:gd name="T43" fmla="*/ 205 h 277"/>
                  <a:gd name="T44" fmla="*/ 72 w 283"/>
                  <a:gd name="T45" fmla="*/ 277 h 277"/>
                  <a:gd name="T46" fmla="*/ 72 w 283"/>
                  <a:gd name="T47" fmla="*/ 145 h 277"/>
                  <a:gd name="T48" fmla="*/ 12 w 283"/>
                  <a:gd name="T49" fmla="*/ 205 h 277"/>
                  <a:gd name="T50" fmla="*/ 72 w 283"/>
                  <a:gd name="T51" fmla="*/ 265 h 277"/>
                  <a:gd name="T52" fmla="*/ 132 w 283"/>
                  <a:gd name="T53" fmla="*/ 205 h 277"/>
                  <a:gd name="T54" fmla="*/ 124 w 283"/>
                  <a:gd name="T55" fmla="*/ 175 h 277"/>
                  <a:gd name="T56" fmla="*/ 125 w 283"/>
                  <a:gd name="T57" fmla="*/ 167 h 277"/>
                  <a:gd name="T58" fmla="*/ 188 w 283"/>
                  <a:gd name="T59" fmla="*/ 104 h 277"/>
                  <a:gd name="T60" fmla="*/ 196 w 283"/>
                  <a:gd name="T61" fmla="*/ 104 h 277"/>
                  <a:gd name="T62" fmla="*/ 216 w 283"/>
                  <a:gd name="T63" fmla="*/ 124 h 277"/>
                  <a:gd name="T64" fmla="*/ 226 w 283"/>
                  <a:gd name="T65" fmla="*/ 115 h 277"/>
                  <a:gd name="T66" fmla="*/ 206 w 283"/>
                  <a:gd name="T67" fmla="*/ 95 h 277"/>
                  <a:gd name="T68" fmla="*/ 206 w 283"/>
                  <a:gd name="T69" fmla="*/ 86 h 277"/>
                  <a:gd name="T70" fmla="*/ 224 w 283"/>
                  <a:gd name="T71" fmla="*/ 68 h 277"/>
                  <a:gd name="T72" fmla="*/ 232 w 283"/>
                  <a:gd name="T73" fmla="*/ 68 h 277"/>
                  <a:gd name="T74" fmla="*/ 258 w 283"/>
                  <a:gd name="T75" fmla="*/ 94 h 277"/>
                  <a:gd name="T76" fmla="*/ 268 w 283"/>
                  <a:gd name="T77" fmla="*/ 85 h 277"/>
                  <a:gd name="T78" fmla="*/ 242 w 283"/>
                  <a:gd name="T79" fmla="*/ 59 h 277"/>
                  <a:gd name="T80" fmla="*/ 242 w 283"/>
                  <a:gd name="T81" fmla="*/ 50 h 277"/>
                  <a:gd name="T82" fmla="*/ 260 w 283"/>
                  <a:gd name="T83" fmla="*/ 32 h 277"/>
                  <a:gd name="T84" fmla="*/ 263 w 283"/>
                  <a:gd name="T85" fmla="*/ 25 h 277"/>
                  <a:gd name="T86" fmla="*/ 260 w 283"/>
                  <a:gd name="T87" fmla="*/ 17 h 277"/>
                  <a:gd name="T88" fmla="*/ 244 w 283"/>
                  <a:gd name="T89" fmla="*/ 17 h 277"/>
                  <a:gd name="T90" fmla="*/ 109 w 283"/>
                  <a:gd name="T91" fmla="*/ 152 h 277"/>
                  <a:gd name="T92" fmla="*/ 102 w 283"/>
                  <a:gd name="T93" fmla="*/ 153 h 277"/>
                  <a:gd name="T94" fmla="*/ 72 w 283"/>
                  <a:gd name="T95" fmla="*/ 145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83" h="277">
                    <a:moveTo>
                      <a:pt x="72" y="277"/>
                    </a:moveTo>
                    <a:cubicBezTo>
                      <a:pt x="32" y="277"/>
                      <a:pt x="0" y="244"/>
                      <a:pt x="0" y="205"/>
                    </a:cubicBezTo>
                    <a:cubicBezTo>
                      <a:pt x="0" y="165"/>
                      <a:pt x="32" y="133"/>
                      <a:pt x="72" y="133"/>
                    </a:cubicBezTo>
                    <a:cubicBezTo>
                      <a:pt x="83" y="133"/>
                      <a:pt x="94" y="135"/>
                      <a:pt x="104" y="140"/>
                    </a:cubicBezTo>
                    <a:cubicBezTo>
                      <a:pt x="236" y="8"/>
                      <a:pt x="236" y="8"/>
                      <a:pt x="236" y="8"/>
                    </a:cubicBezTo>
                    <a:cubicBezTo>
                      <a:pt x="245" y="0"/>
                      <a:pt x="259" y="0"/>
                      <a:pt x="268" y="8"/>
                    </a:cubicBezTo>
                    <a:cubicBezTo>
                      <a:pt x="273" y="13"/>
                      <a:pt x="275" y="19"/>
                      <a:pt x="275" y="25"/>
                    </a:cubicBezTo>
                    <a:cubicBezTo>
                      <a:pt x="275" y="31"/>
                      <a:pt x="273" y="37"/>
                      <a:pt x="268" y="41"/>
                    </a:cubicBezTo>
                    <a:cubicBezTo>
                      <a:pt x="255" y="55"/>
                      <a:pt x="255" y="55"/>
                      <a:pt x="255" y="55"/>
                    </a:cubicBezTo>
                    <a:cubicBezTo>
                      <a:pt x="280" y="80"/>
                      <a:pt x="280" y="80"/>
                      <a:pt x="280" y="80"/>
                    </a:cubicBezTo>
                    <a:cubicBezTo>
                      <a:pt x="283" y="83"/>
                      <a:pt x="283" y="87"/>
                      <a:pt x="280" y="89"/>
                    </a:cubicBezTo>
                    <a:cubicBezTo>
                      <a:pt x="262" y="107"/>
                      <a:pt x="262" y="107"/>
                      <a:pt x="262" y="107"/>
                    </a:cubicBezTo>
                    <a:cubicBezTo>
                      <a:pt x="260" y="109"/>
                      <a:pt x="256" y="109"/>
                      <a:pt x="254" y="107"/>
                    </a:cubicBezTo>
                    <a:cubicBezTo>
                      <a:pt x="228" y="81"/>
                      <a:pt x="228" y="81"/>
                      <a:pt x="228" y="81"/>
                    </a:cubicBezTo>
                    <a:cubicBezTo>
                      <a:pt x="219" y="91"/>
                      <a:pt x="219" y="91"/>
                      <a:pt x="219" y="91"/>
                    </a:cubicBezTo>
                    <a:cubicBezTo>
                      <a:pt x="238" y="110"/>
                      <a:pt x="238" y="110"/>
                      <a:pt x="238" y="110"/>
                    </a:cubicBezTo>
                    <a:cubicBezTo>
                      <a:pt x="241" y="113"/>
                      <a:pt x="241" y="117"/>
                      <a:pt x="238" y="119"/>
                    </a:cubicBezTo>
                    <a:cubicBezTo>
                      <a:pt x="220" y="137"/>
                      <a:pt x="220" y="137"/>
                      <a:pt x="220" y="137"/>
                    </a:cubicBezTo>
                    <a:cubicBezTo>
                      <a:pt x="218" y="139"/>
                      <a:pt x="214" y="139"/>
                      <a:pt x="212" y="137"/>
                    </a:cubicBezTo>
                    <a:cubicBezTo>
                      <a:pt x="192" y="117"/>
                      <a:pt x="192" y="117"/>
                      <a:pt x="192" y="117"/>
                    </a:cubicBezTo>
                    <a:cubicBezTo>
                      <a:pt x="136" y="173"/>
                      <a:pt x="136" y="173"/>
                      <a:pt x="136" y="173"/>
                    </a:cubicBezTo>
                    <a:cubicBezTo>
                      <a:pt x="141" y="183"/>
                      <a:pt x="144" y="194"/>
                      <a:pt x="144" y="205"/>
                    </a:cubicBezTo>
                    <a:cubicBezTo>
                      <a:pt x="144" y="244"/>
                      <a:pt x="112" y="277"/>
                      <a:pt x="72" y="277"/>
                    </a:cubicBezTo>
                    <a:close/>
                    <a:moveTo>
                      <a:pt x="72" y="145"/>
                    </a:moveTo>
                    <a:cubicBezTo>
                      <a:pt x="39" y="145"/>
                      <a:pt x="12" y="172"/>
                      <a:pt x="12" y="205"/>
                    </a:cubicBezTo>
                    <a:cubicBezTo>
                      <a:pt x="12" y="238"/>
                      <a:pt x="39" y="265"/>
                      <a:pt x="72" y="265"/>
                    </a:cubicBezTo>
                    <a:cubicBezTo>
                      <a:pt x="105" y="265"/>
                      <a:pt x="132" y="238"/>
                      <a:pt x="132" y="205"/>
                    </a:cubicBezTo>
                    <a:cubicBezTo>
                      <a:pt x="132" y="194"/>
                      <a:pt x="129" y="184"/>
                      <a:pt x="124" y="175"/>
                    </a:cubicBezTo>
                    <a:cubicBezTo>
                      <a:pt x="123" y="172"/>
                      <a:pt x="123" y="169"/>
                      <a:pt x="125" y="167"/>
                    </a:cubicBezTo>
                    <a:cubicBezTo>
                      <a:pt x="188" y="104"/>
                      <a:pt x="188" y="104"/>
                      <a:pt x="188" y="104"/>
                    </a:cubicBezTo>
                    <a:cubicBezTo>
                      <a:pt x="190" y="102"/>
                      <a:pt x="194" y="102"/>
                      <a:pt x="196" y="104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26" y="115"/>
                      <a:pt x="226" y="115"/>
                      <a:pt x="226" y="115"/>
                    </a:cubicBezTo>
                    <a:cubicBezTo>
                      <a:pt x="206" y="95"/>
                      <a:pt x="206" y="95"/>
                      <a:pt x="206" y="95"/>
                    </a:cubicBezTo>
                    <a:cubicBezTo>
                      <a:pt x="203" y="93"/>
                      <a:pt x="203" y="89"/>
                      <a:pt x="206" y="86"/>
                    </a:cubicBezTo>
                    <a:cubicBezTo>
                      <a:pt x="224" y="68"/>
                      <a:pt x="224" y="68"/>
                      <a:pt x="224" y="68"/>
                    </a:cubicBezTo>
                    <a:cubicBezTo>
                      <a:pt x="226" y="66"/>
                      <a:pt x="230" y="66"/>
                      <a:pt x="232" y="68"/>
                    </a:cubicBezTo>
                    <a:cubicBezTo>
                      <a:pt x="258" y="94"/>
                      <a:pt x="258" y="94"/>
                      <a:pt x="258" y="94"/>
                    </a:cubicBezTo>
                    <a:cubicBezTo>
                      <a:pt x="268" y="85"/>
                      <a:pt x="268" y="85"/>
                      <a:pt x="268" y="85"/>
                    </a:cubicBezTo>
                    <a:cubicBezTo>
                      <a:pt x="242" y="59"/>
                      <a:pt x="242" y="59"/>
                      <a:pt x="242" y="59"/>
                    </a:cubicBezTo>
                    <a:cubicBezTo>
                      <a:pt x="239" y="57"/>
                      <a:pt x="239" y="53"/>
                      <a:pt x="242" y="50"/>
                    </a:cubicBezTo>
                    <a:cubicBezTo>
                      <a:pt x="260" y="32"/>
                      <a:pt x="260" y="32"/>
                      <a:pt x="260" y="32"/>
                    </a:cubicBezTo>
                    <a:cubicBezTo>
                      <a:pt x="262" y="30"/>
                      <a:pt x="263" y="28"/>
                      <a:pt x="263" y="25"/>
                    </a:cubicBezTo>
                    <a:cubicBezTo>
                      <a:pt x="263" y="22"/>
                      <a:pt x="262" y="19"/>
                      <a:pt x="260" y="17"/>
                    </a:cubicBezTo>
                    <a:cubicBezTo>
                      <a:pt x="256" y="13"/>
                      <a:pt x="249" y="13"/>
                      <a:pt x="244" y="17"/>
                    </a:cubicBezTo>
                    <a:cubicBezTo>
                      <a:pt x="109" y="152"/>
                      <a:pt x="109" y="152"/>
                      <a:pt x="109" y="152"/>
                    </a:cubicBezTo>
                    <a:cubicBezTo>
                      <a:pt x="107" y="154"/>
                      <a:pt x="104" y="154"/>
                      <a:pt x="102" y="153"/>
                    </a:cubicBezTo>
                    <a:cubicBezTo>
                      <a:pt x="93" y="148"/>
                      <a:pt x="83" y="145"/>
                      <a:pt x="72" y="1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22">
                <a:extLst>
                  <a:ext uri="{FF2B5EF4-FFF2-40B4-BE49-F238E27FC236}">
                    <a16:creationId xmlns:a16="http://schemas.microsoft.com/office/drawing/2014/main" id="{1F087CC0-0299-5AF0-0286-53AE9E6BD8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7821" y="4318217"/>
                <a:ext cx="56387" cy="54101"/>
              </a:xfrm>
              <a:custGeom>
                <a:avLst/>
                <a:gdLst>
                  <a:gd name="T0" fmla="*/ 24 w 48"/>
                  <a:gd name="T1" fmla="*/ 0 h 48"/>
                  <a:gd name="T2" fmla="*/ 0 w 48"/>
                  <a:gd name="T3" fmla="*/ 24 h 48"/>
                  <a:gd name="T4" fmla="*/ 24 w 48"/>
                  <a:gd name="T5" fmla="*/ 48 h 48"/>
                  <a:gd name="T6" fmla="*/ 48 w 48"/>
                  <a:gd name="T7" fmla="*/ 24 h 48"/>
                  <a:gd name="T8" fmla="*/ 24 w 48"/>
                  <a:gd name="T9" fmla="*/ 0 h 48"/>
                  <a:gd name="T10" fmla="*/ 24 w 48"/>
                  <a:gd name="T11" fmla="*/ 36 h 48"/>
                  <a:gd name="T12" fmla="*/ 12 w 48"/>
                  <a:gd name="T13" fmla="*/ 24 h 48"/>
                  <a:gd name="T14" fmla="*/ 24 w 48"/>
                  <a:gd name="T15" fmla="*/ 12 h 48"/>
                  <a:gd name="T16" fmla="*/ 36 w 48"/>
                  <a:gd name="T17" fmla="*/ 24 h 48"/>
                  <a:gd name="T18" fmla="*/ 24 w 48"/>
                  <a:gd name="T19" fmla="*/ 3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" h="48">
                    <a:moveTo>
                      <a:pt x="24" y="0"/>
                    </a:move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37" y="48"/>
                      <a:pt x="48" y="37"/>
                      <a:pt x="48" y="24"/>
                    </a:cubicBezTo>
                    <a:cubicBezTo>
                      <a:pt x="48" y="11"/>
                      <a:pt x="37" y="0"/>
                      <a:pt x="24" y="0"/>
                    </a:cubicBezTo>
                    <a:close/>
                    <a:moveTo>
                      <a:pt x="24" y="36"/>
                    </a:moveTo>
                    <a:cubicBezTo>
                      <a:pt x="17" y="36"/>
                      <a:pt x="12" y="31"/>
                      <a:pt x="12" y="24"/>
                    </a:cubicBezTo>
                    <a:cubicBezTo>
                      <a:pt x="12" y="17"/>
                      <a:pt x="17" y="12"/>
                      <a:pt x="24" y="12"/>
                    </a:cubicBezTo>
                    <a:cubicBezTo>
                      <a:pt x="30" y="12"/>
                      <a:pt x="36" y="17"/>
                      <a:pt x="36" y="24"/>
                    </a:cubicBezTo>
                    <a:cubicBezTo>
                      <a:pt x="36" y="31"/>
                      <a:pt x="30" y="36"/>
                      <a:pt x="24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23">
                <a:extLst>
                  <a:ext uri="{FF2B5EF4-FFF2-40B4-BE49-F238E27FC236}">
                    <a16:creationId xmlns:a16="http://schemas.microsoft.com/office/drawing/2014/main" id="{35902021-D2E0-27C7-CF07-09A336EDE6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912" y="4277069"/>
                <a:ext cx="138682" cy="136397"/>
              </a:xfrm>
              <a:custGeom>
                <a:avLst/>
                <a:gdLst>
                  <a:gd name="T0" fmla="*/ 118 w 119"/>
                  <a:gd name="T1" fmla="*/ 41 h 120"/>
                  <a:gd name="T2" fmla="*/ 98 w 119"/>
                  <a:gd name="T3" fmla="*/ 17 h 120"/>
                  <a:gd name="T4" fmla="*/ 76 w 119"/>
                  <a:gd name="T5" fmla="*/ 16 h 120"/>
                  <a:gd name="T6" fmla="*/ 70 w 119"/>
                  <a:gd name="T7" fmla="*/ 0 h 120"/>
                  <a:gd name="T8" fmla="*/ 40 w 119"/>
                  <a:gd name="T9" fmla="*/ 6 h 120"/>
                  <a:gd name="T10" fmla="*/ 29 w 119"/>
                  <a:gd name="T11" fmla="*/ 22 h 120"/>
                  <a:gd name="T12" fmla="*/ 17 w 119"/>
                  <a:gd name="T13" fmla="*/ 17 h 120"/>
                  <a:gd name="T14" fmla="*/ 2 w 119"/>
                  <a:gd name="T15" fmla="*/ 41 h 120"/>
                  <a:gd name="T16" fmla="*/ 12 w 119"/>
                  <a:gd name="T17" fmla="*/ 53 h 120"/>
                  <a:gd name="T18" fmla="*/ 12 w 119"/>
                  <a:gd name="T19" fmla="*/ 67 h 120"/>
                  <a:gd name="T20" fmla="*/ 2 w 119"/>
                  <a:gd name="T21" fmla="*/ 80 h 120"/>
                  <a:gd name="T22" fmla="*/ 18 w 119"/>
                  <a:gd name="T23" fmla="*/ 103 h 120"/>
                  <a:gd name="T24" fmla="*/ 29 w 119"/>
                  <a:gd name="T25" fmla="*/ 98 h 120"/>
                  <a:gd name="T26" fmla="*/ 40 w 119"/>
                  <a:gd name="T27" fmla="*/ 114 h 120"/>
                  <a:gd name="T28" fmla="*/ 70 w 119"/>
                  <a:gd name="T29" fmla="*/ 120 h 120"/>
                  <a:gd name="T30" fmla="*/ 76 w 119"/>
                  <a:gd name="T31" fmla="*/ 104 h 120"/>
                  <a:gd name="T32" fmla="*/ 97 w 119"/>
                  <a:gd name="T33" fmla="*/ 103 h 120"/>
                  <a:gd name="T34" fmla="*/ 117 w 119"/>
                  <a:gd name="T35" fmla="*/ 80 h 120"/>
                  <a:gd name="T36" fmla="*/ 115 w 119"/>
                  <a:gd name="T37" fmla="*/ 71 h 120"/>
                  <a:gd name="T38" fmla="*/ 108 w 119"/>
                  <a:gd name="T39" fmla="*/ 60 h 120"/>
                  <a:gd name="T40" fmla="*/ 115 w 119"/>
                  <a:gd name="T41" fmla="*/ 49 h 120"/>
                  <a:gd name="T42" fmla="*/ 95 w 119"/>
                  <a:gd name="T43" fmla="*/ 52 h 120"/>
                  <a:gd name="T44" fmla="*/ 95 w 119"/>
                  <a:gd name="T45" fmla="*/ 68 h 120"/>
                  <a:gd name="T46" fmla="*/ 104 w 119"/>
                  <a:gd name="T47" fmla="*/ 79 h 120"/>
                  <a:gd name="T48" fmla="*/ 90 w 119"/>
                  <a:gd name="T49" fmla="*/ 85 h 120"/>
                  <a:gd name="T50" fmla="*/ 68 w 119"/>
                  <a:gd name="T51" fmla="*/ 95 h 120"/>
                  <a:gd name="T52" fmla="*/ 64 w 119"/>
                  <a:gd name="T53" fmla="*/ 108 h 120"/>
                  <a:gd name="T54" fmla="*/ 52 w 119"/>
                  <a:gd name="T55" fmla="*/ 100 h 120"/>
                  <a:gd name="T56" fmla="*/ 34 w 119"/>
                  <a:gd name="T57" fmla="*/ 86 h 120"/>
                  <a:gd name="T58" fmla="*/ 21 w 119"/>
                  <a:gd name="T59" fmla="*/ 89 h 120"/>
                  <a:gd name="T60" fmla="*/ 22 w 119"/>
                  <a:gd name="T61" fmla="*/ 75 h 120"/>
                  <a:gd name="T62" fmla="*/ 24 w 119"/>
                  <a:gd name="T63" fmla="*/ 60 h 120"/>
                  <a:gd name="T64" fmla="*/ 22 w 119"/>
                  <a:gd name="T65" fmla="*/ 45 h 120"/>
                  <a:gd name="T66" fmla="*/ 21 w 119"/>
                  <a:gd name="T67" fmla="*/ 31 h 120"/>
                  <a:gd name="T68" fmla="*/ 34 w 119"/>
                  <a:gd name="T69" fmla="*/ 34 h 120"/>
                  <a:gd name="T70" fmla="*/ 52 w 119"/>
                  <a:gd name="T71" fmla="*/ 20 h 120"/>
                  <a:gd name="T72" fmla="*/ 64 w 119"/>
                  <a:gd name="T73" fmla="*/ 12 h 120"/>
                  <a:gd name="T74" fmla="*/ 68 w 119"/>
                  <a:gd name="T75" fmla="*/ 26 h 120"/>
                  <a:gd name="T76" fmla="*/ 90 w 119"/>
                  <a:gd name="T77" fmla="*/ 35 h 120"/>
                  <a:gd name="T78" fmla="*/ 104 w 119"/>
                  <a:gd name="T79" fmla="*/ 41 h 120"/>
                  <a:gd name="T80" fmla="*/ 95 w 119"/>
                  <a:gd name="T81" fmla="*/ 5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19" h="120">
                    <a:moveTo>
                      <a:pt x="118" y="45"/>
                    </a:moveTo>
                    <a:cubicBezTo>
                      <a:pt x="119" y="44"/>
                      <a:pt x="118" y="42"/>
                      <a:pt x="118" y="41"/>
                    </a:cubicBezTo>
                    <a:cubicBezTo>
                      <a:pt x="106" y="20"/>
                      <a:pt x="106" y="20"/>
                      <a:pt x="106" y="20"/>
                    </a:cubicBezTo>
                    <a:cubicBezTo>
                      <a:pt x="104" y="17"/>
                      <a:pt x="100" y="16"/>
                      <a:pt x="98" y="17"/>
                    </a:cubicBezTo>
                    <a:cubicBezTo>
                      <a:pt x="88" y="22"/>
                      <a:pt x="88" y="22"/>
                      <a:pt x="88" y="22"/>
                    </a:cubicBezTo>
                    <a:cubicBezTo>
                      <a:pt x="84" y="19"/>
                      <a:pt x="79" y="17"/>
                      <a:pt x="76" y="16"/>
                    </a:cubicBezTo>
                    <a:cubicBezTo>
                      <a:pt x="76" y="6"/>
                      <a:pt x="76" y="6"/>
                      <a:pt x="76" y="6"/>
                    </a:cubicBezTo>
                    <a:cubicBezTo>
                      <a:pt x="76" y="3"/>
                      <a:pt x="73" y="0"/>
                      <a:pt x="70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2" y="0"/>
                      <a:pt x="40" y="3"/>
                      <a:pt x="40" y="6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36" y="17"/>
                      <a:pt x="33" y="20"/>
                      <a:pt x="29" y="22"/>
                    </a:cubicBezTo>
                    <a:cubicBezTo>
                      <a:pt x="22" y="18"/>
                      <a:pt x="22" y="18"/>
                      <a:pt x="22" y="18"/>
                    </a:cubicBezTo>
                    <a:cubicBezTo>
                      <a:pt x="20" y="17"/>
                      <a:pt x="19" y="17"/>
                      <a:pt x="17" y="17"/>
                    </a:cubicBezTo>
                    <a:cubicBezTo>
                      <a:pt x="15" y="17"/>
                      <a:pt x="14" y="18"/>
                      <a:pt x="13" y="2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0" y="43"/>
                      <a:pt x="1" y="47"/>
                      <a:pt x="4" y="49"/>
                    </a:cubicBezTo>
                    <a:cubicBezTo>
                      <a:pt x="12" y="53"/>
                      <a:pt x="12" y="53"/>
                      <a:pt x="12" y="53"/>
                    </a:cubicBezTo>
                    <a:cubicBezTo>
                      <a:pt x="12" y="56"/>
                      <a:pt x="12" y="58"/>
                      <a:pt x="12" y="60"/>
                    </a:cubicBezTo>
                    <a:cubicBezTo>
                      <a:pt x="12" y="62"/>
                      <a:pt x="12" y="64"/>
                      <a:pt x="12" y="67"/>
                    </a:cubicBezTo>
                    <a:cubicBezTo>
                      <a:pt x="4" y="71"/>
                      <a:pt x="4" y="71"/>
                      <a:pt x="4" y="71"/>
                    </a:cubicBezTo>
                    <a:cubicBezTo>
                      <a:pt x="1" y="73"/>
                      <a:pt x="0" y="77"/>
                      <a:pt x="2" y="80"/>
                    </a:cubicBezTo>
                    <a:cubicBezTo>
                      <a:pt x="14" y="100"/>
                      <a:pt x="14" y="100"/>
                      <a:pt x="14" y="100"/>
                    </a:cubicBezTo>
                    <a:cubicBezTo>
                      <a:pt x="15" y="102"/>
                      <a:pt x="16" y="103"/>
                      <a:pt x="18" y="103"/>
                    </a:cubicBezTo>
                    <a:cubicBezTo>
                      <a:pt x="19" y="104"/>
                      <a:pt x="21" y="103"/>
                      <a:pt x="22" y="102"/>
                    </a:cubicBezTo>
                    <a:cubicBezTo>
                      <a:pt x="29" y="98"/>
                      <a:pt x="29" y="98"/>
                      <a:pt x="29" y="98"/>
                    </a:cubicBezTo>
                    <a:cubicBezTo>
                      <a:pt x="33" y="101"/>
                      <a:pt x="36" y="103"/>
                      <a:pt x="40" y="104"/>
                    </a:cubicBezTo>
                    <a:cubicBezTo>
                      <a:pt x="40" y="114"/>
                      <a:pt x="40" y="114"/>
                      <a:pt x="40" y="114"/>
                    </a:cubicBezTo>
                    <a:cubicBezTo>
                      <a:pt x="40" y="117"/>
                      <a:pt x="42" y="120"/>
                      <a:pt x="46" y="120"/>
                    </a:cubicBezTo>
                    <a:cubicBezTo>
                      <a:pt x="70" y="120"/>
                      <a:pt x="70" y="120"/>
                      <a:pt x="70" y="120"/>
                    </a:cubicBezTo>
                    <a:cubicBezTo>
                      <a:pt x="73" y="120"/>
                      <a:pt x="76" y="117"/>
                      <a:pt x="76" y="114"/>
                    </a:cubicBezTo>
                    <a:cubicBezTo>
                      <a:pt x="76" y="104"/>
                      <a:pt x="76" y="104"/>
                      <a:pt x="76" y="104"/>
                    </a:cubicBezTo>
                    <a:cubicBezTo>
                      <a:pt x="79" y="103"/>
                      <a:pt x="84" y="101"/>
                      <a:pt x="88" y="98"/>
                    </a:cubicBezTo>
                    <a:cubicBezTo>
                      <a:pt x="97" y="103"/>
                      <a:pt x="97" y="103"/>
                      <a:pt x="97" y="103"/>
                    </a:cubicBezTo>
                    <a:cubicBezTo>
                      <a:pt x="100" y="104"/>
                      <a:pt x="103" y="103"/>
                      <a:pt x="105" y="100"/>
                    </a:cubicBezTo>
                    <a:cubicBezTo>
                      <a:pt x="117" y="80"/>
                      <a:pt x="117" y="80"/>
                      <a:pt x="117" y="80"/>
                    </a:cubicBezTo>
                    <a:cubicBezTo>
                      <a:pt x="118" y="78"/>
                      <a:pt x="118" y="77"/>
                      <a:pt x="118" y="75"/>
                    </a:cubicBezTo>
                    <a:cubicBezTo>
                      <a:pt x="118" y="74"/>
                      <a:pt x="117" y="72"/>
                      <a:pt x="115" y="71"/>
                    </a:cubicBezTo>
                    <a:cubicBezTo>
                      <a:pt x="107" y="67"/>
                      <a:pt x="107" y="67"/>
                      <a:pt x="107" y="67"/>
                    </a:cubicBezTo>
                    <a:cubicBezTo>
                      <a:pt x="107" y="65"/>
                      <a:pt x="108" y="62"/>
                      <a:pt x="108" y="60"/>
                    </a:cubicBezTo>
                    <a:cubicBezTo>
                      <a:pt x="108" y="58"/>
                      <a:pt x="107" y="56"/>
                      <a:pt x="107" y="53"/>
                    </a:cubicBezTo>
                    <a:cubicBezTo>
                      <a:pt x="115" y="49"/>
                      <a:pt x="115" y="49"/>
                      <a:pt x="115" y="49"/>
                    </a:cubicBezTo>
                    <a:cubicBezTo>
                      <a:pt x="117" y="48"/>
                      <a:pt x="118" y="47"/>
                      <a:pt x="118" y="45"/>
                    </a:cubicBezTo>
                    <a:close/>
                    <a:moveTo>
                      <a:pt x="95" y="52"/>
                    </a:moveTo>
                    <a:cubicBezTo>
                      <a:pt x="95" y="55"/>
                      <a:pt x="96" y="57"/>
                      <a:pt x="96" y="60"/>
                    </a:cubicBezTo>
                    <a:cubicBezTo>
                      <a:pt x="96" y="63"/>
                      <a:pt x="95" y="65"/>
                      <a:pt x="95" y="68"/>
                    </a:cubicBezTo>
                    <a:cubicBezTo>
                      <a:pt x="94" y="71"/>
                      <a:pt x="95" y="74"/>
                      <a:pt x="97" y="75"/>
                    </a:cubicBezTo>
                    <a:cubicBezTo>
                      <a:pt x="104" y="79"/>
                      <a:pt x="104" y="79"/>
                      <a:pt x="104" y="79"/>
                    </a:cubicBezTo>
                    <a:cubicBezTo>
                      <a:pt x="98" y="89"/>
                      <a:pt x="98" y="89"/>
                      <a:pt x="98" y="89"/>
                    </a:cubicBezTo>
                    <a:cubicBezTo>
                      <a:pt x="90" y="85"/>
                      <a:pt x="90" y="85"/>
                      <a:pt x="90" y="85"/>
                    </a:cubicBezTo>
                    <a:cubicBezTo>
                      <a:pt x="88" y="84"/>
                      <a:pt x="85" y="84"/>
                      <a:pt x="83" y="86"/>
                    </a:cubicBezTo>
                    <a:cubicBezTo>
                      <a:pt x="80" y="89"/>
                      <a:pt x="74" y="93"/>
                      <a:pt x="68" y="95"/>
                    </a:cubicBezTo>
                    <a:cubicBezTo>
                      <a:pt x="65" y="95"/>
                      <a:pt x="64" y="98"/>
                      <a:pt x="64" y="100"/>
                    </a:cubicBezTo>
                    <a:cubicBezTo>
                      <a:pt x="64" y="108"/>
                      <a:pt x="64" y="108"/>
                      <a:pt x="64" y="108"/>
                    </a:cubicBezTo>
                    <a:cubicBezTo>
                      <a:pt x="52" y="108"/>
                      <a:pt x="52" y="108"/>
                      <a:pt x="52" y="108"/>
                    </a:cubicBezTo>
                    <a:cubicBezTo>
                      <a:pt x="52" y="100"/>
                      <a:pt x="52" y="100"/>
                      <a:pt x="52" y="100"/>
                    </a:cubicBezTo>
                    <a:cubicBezTo>
                      <a:pt x="52" y="98"/>
                      <a:pt x="50" y="95"/>
                      <a:pt x="48" y="95"/>
                    </a:cubicBezTo>
                    <a:cubicBezTo>
                      <a:pt x="43" y="93"/>
                      <a:pt x="38" y="90"/>
                      <a:pt x="34" y="86"/>
                    </a:cubicBezTo>
                    <a:cubicBezTo>
                      <a:pt x="32" y="84"/>
                      <a:pt x="29" y="84"/>
                      <a:pt x="27" y="85"/>
                    </a:cubicBezTo>
                    <a:cubicBezTo>
                      <a:pt x="21" y="89"/>
                      <a:pt x="21" y="89"/>
                      <a:pt x="21" y="89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22" y="75"/>
                      <a:pt x="22" y="75"/>
                      <a:pt x="22" y="75"/>
                    </a:cubicBezTo>
                    <a:cubicBezTo>
                      <a:pt x="24" y="74"/>
                      <a:pt x="25" y="71"/>
                      <a:pt x="25" y="68"/>
                    </a:cubicBezTo>
                    <a:cubicBezTo>
                      <a:pt x="24" y="65"/>
                      <a:pt x="24" y="63"/>
                      <a:pt x="24" y="60"/>
                    </a:cubicBezTo>
                    <a:cubicBezTo>
                      <a:pt x="24" y="57"/>
                      <a:pt x="24" y="54"/>
                      <a:pt x="25" y="52"/>
                    </a:cubicBezTo>
                    <a:cubicBezTo>
                      <a:pt x="25" y="49"/>
                      <a:pt x="24" y="47"/>
                      <a:pt x="22" y="45"/>
                    </a:cubicBezTo>
                    <a:cubicBezTo>
                      <a:pt x="15" y="41"/>
                      <a:pt x="15" y="41"/>
                      <a:pt x="15" y="41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7" y="35"/>
                      <a:pt x="27" y="35"/>
                      <a:pt x="27" y="35"/>
                    </a:cubicBezTo>
                    <a:cubicBezTo>
                      <a:pt x="29" y="36"/>
                      <a:pt x="32" y="36"/>
                      <a:pt x="34" y="34"/>
                    </a:cubicBezTo>
                    <a:cubicBezTo>
                      <a:pt x="38" y="30"/>
                      <a:pt x="43" y="27"/>
                      <a:pt x="48" y="26"/>
                    </a:cubicBezTo>
                    <a:cubicBezTo>
                      <a:pt x="50" y="25"/>
                      <a:pt x="52" y="23"/>
                      <a:pt x="52" y="20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64" y="12"/>
                      <a:pt x="64" y="12"/>
                      <a:pt x="64" y="12"/>
                    </a:cubicBezTo>
                    <a:cubicBezTo>
                      <a:pt x="64" y="20"/>
                      <a:pt x="64" y="20"/>
                      <a:pt x="64" y="20"/>
                    </a:cubicBezTo>
                    <a:cubicBezTo>
                      <a:pt x="64" y="23"/>
                      <a:pt x="65" y="25"/>
                      <a:pt x="68" y="26"/>
                    </a:cubicBezTo>
                    <a:cubicBezTo>
                      <a:pt x="74" y="28"/>
                      <a:pt x="80" y="31"/>
                      <a:pt x="83" y="34"/>
                    </a:cubicBezTo>
                    <a:cubicBezTo>
                      <a:pt x="85" y="36"/>
                      <a:pt x="88" y="36"/>
                      <a:pt x="90" y="35"/>
                    </a:cubicBezTo>
                    <a:cubicBezTo>
                      <a:pt x="98" y="31"/>
                      <a:pt x="98" y="31"/>
                      <a:pt x="98" y="31"/>
                    </a:cubicBezTo>
                    <a:cubicBezTo>
                      <a:pt x="104" y="41"/>
                      <a:pt x="104" y="41"/>
                      <a:pt x="104" y="41"/>
                    </a:cubicBezTo>
                    <a:cubicBezTo>
                      <a:pt x="97" y="45"/>
                      <a:pt x="97" y="45"/>
                      <a:pt x="97" y="45"/>
                    </a:cubicBezTo>
                    <a:cubicBezTo>
                      <a:pt x="95" y="47"/>
                      <a:pt x="94" y="49"/>
                      <a:pt x="9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25">
                <a:extLst>
                  <a:ext uri="{FF2B5EF4-FFF2-40B4-BE49-F238E27FC236}">
                    <a16:creationId xmlns:a16="http://schemas.microsoft.com/office/drawing/2014/main" id="{EFBE4BA7-04CC-EB3A-4722-470664F8CA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9995" y="4208490"/>
                <a:ext cx="140968" cy="200404"/>
              </a:xfrm>
              <a:custGeom>
                <a:avLst/>
                <a:gdLst>
                  <a:gd name="T0" fmla="*/ 117 w 121"/>
                  <a:gd name="T1" fmla="*/ 57 h 176"/>
                  <a:gd name="T2" fmla="*/ 104 w 121"/>
                  <a:gd name="T3" fmla="*/ 51 h 176"/>
                  <a:gd name="T4" fmla="*/ 109 w 121"/>
                  <a:gd name="T5" fmla="*/ 11 h 176"/>
                  <a:gd name="T6" fmla="*/ 114 w 121"/>
                  <a:gd name="T7" fmla="*/ 6 h 176"/>
                  <a:gd name="T8" fmla="*/ 108 w 121"/>
                  <a:gd name="T9" fmla="*/ 0 h 176"/>
                  <a:gd name="T10" fmla="*/ 43 w 121"/>
                  <a:gd name="T11" fmla="*/ 0 h 176"/>
                  <a:gd name="T12" fmla="*/ 37 w 121"/>
                  <a:gd name="T13" fmla="*/ 6 h 176"/>
                  <a:gd name="T14" fmla="*/ 38 w 121"/>
                  <a:gd name="T15" fmla="*/ 7 h 176"/>
                  <a:gd name="T16" fmla="*/ 38 w 121"/>
                  <a:gd name="T17" fmla="*/ 7 h 176"/>
                  <a:gd name="T18" fmla="*/ 39 w 121"/>
                  <a:gd name="T19" fmla="*/ 9 h 176"/>
                  <a:gd name="T20" fmla="*/ 39 w 121"/>
                  <a:gd name="T21" fmla="*/ 9 h 176"/>
                  <a:gd name="T22" fmla="*/ 40 w 121"/>
                  <a:gd name="T23" fmla="*/ 10 h 176"/>
                  <a:gd name="T24" fmla="*/ 40 w 121"/>
                  <a:gd name="T25" fmla="*/ 10 h 176"/>
                  <a:gd name="T26" fmla="*/ 41 w 121"/>
                  <a:gd name="T27" fmla="*/ 11 h 176"/>
                  <a:gd name="T28" fmla="*/ 41 w 121"/>
                  <a:gd name="T29" fmla="*/ 11 h 176"/>
                  <a:gd name="T30" fmla="*/ 45 w 121"/>
                  <a:gd name="T31" fmla="*/ 49 h 176"/>
                  <a:gd name="T32" fmla="*/ 0 w 121"/>
                  <a:gd name="T33" fmla="*/ 114 h 176"/>
                  <a:gd name="T34" fmla="*/ 55 w 121"/>
                  <a:gd name="T35" fmla="*/ 176 h 176"/>
                  <a:gd name="T36" fmla="*/ 56 w 121"/>
                  <a:gd name="T37" fmla="*/ 176 h 176"/>
                  <a:gd name="T38" fmla="*/ 92 w 121"/>
                  <a:gd name="T39" fmla="*/ 176 h 176"/>
                  <a:gd name="T40" fmla="*/ 98 w 121"/>
                  <a:gd name="T41" fmla="*/ 170 h 176"/>
                  <a:gd name="T42" fmla="*/ 92 w 121"/>
                  <a:gd name="T43" fmla="*/ 165 h 176"/>
                  <a:gd name="T44" fmla="*/ 56 w 121"/>
                  <a:gd name="T45" fmla="*/ 165 h 176"/>
                  <a:gd name="T46" fmla="*/ 12 w 121"/>
                  <a:gd name="T47" fmla="*/ 120 h 176"/>
                  <a:gd name="T48" fmla="*/ 79 w 121"/>
                  <a:gd name="T49" fmla="*/ 120 h 176"/>
                  <a:gd name="T50" fmla="*/ 85 w 121"/>
                  <a:gd name="T51" fmla="*/ 114 h 176"/>
                  <a:gd name="T52" fmla="*/ 79 w 121"/>
                  <a:gd name="T53" fmla="*/ 108 h 176"/>
                  <a:gd name="T54" fmla="*/ 12 w 121"/>
                  <a:gd name="T55" fmla="*/ 108 h 176"/>
                  <a:gd name="T56" fmla="*/ 52 w 121"/>
                  <a:gd name="T57" fmla="*/ 60 h 176"/>
                  <a:gd name="T58" fmla="*/ 57 w 121"/>
                  <a:gd name="T59" fmla="*/ 54 h 176"/>
                  <a:gd name="T60" fmla="*/ 53 w 121"/>
                  <a:gd name="T61" fmla="*/ 11 h 176"/>
                  <a:gd name="T62" fmla="*/ 96 w 121"/>
                  <a:gd name="T63" fmla="*/ 11 h 176"/>
                  <a:gd name="T64" fmla="*/ 92 w 121"/>
                  <a:gd name="T65" fmla="*/ 54 h 176"/>
                  <a:gd name="T66" fmla="*/ 92 w 121"/>
                  <a:gd name="T67" fmla="*/ 54 h 176"/>
                  <a:gd name="T68" fmla="*/ 92 w 121"/>
                  <a:gd name="T69" fmla="*/ 55 h 176"/>
                  <a:gd name="T70" fmla="*/ 96 w 121"/>
                  <a:gd name="T71" fmla="*/ 60 h 176"/>
                  <a:gd name="T72" fmla="*/ 96 w 121"/>
                  <a:gd name="T73" fmla="*/ 61 h 176"/>
                  <a:gd name="T74" fmla="*/ 111 w 121"/>
                  <a:gd name="T75" fmla="*/ 67 h 176"/>
                  <a:gd name="T76" fmla="*/ 114 w 121"/>
                  <a:gd name="T77" fmla="*/ 68 h 176"/>
                  <a:gd name="T78" fmla="*/ 119 w 121"/>
                  <a:gd name="T79" fmla="*/ 66 h 176"/>
                  <a:gd name="T80" fmla="*/ 117 w 121"/>
                  <a:gd name="T81" fmla="*/ 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1" h="176">
                    <a:moveTo>
                      <a:pt x="117" y="57"/>
                    </a:moveTo>
                    <a:cubicBezTo>
                      <a:pt x="113" y="54"/>
                      <a:pt x="108" y="52"/>
                      <a:pt x="104" y="51"/>
                    </a:cubicBezTo>
                    <a:cubicBezTo>
                      <a:pt x="104" y="34"/>
                      <a:pt x="106" y="16"/>
                      <a:pt x="109" y="11"/>
                    </a:cubicBezTo>
                    <a:cubicBezTo>
                      <a:pt x="112" y="11"/>
                      <a:pt x="114" y="8"/>
                      <a:pt x="114" y="6"/>
                    </a:cubicBezTo>
                    <a:cubicBezTo>
                      <a:pt x="114" y="2"/>
                      <a:pt x="111" y="0"/>
                      <a:pt x="108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0" y="0"/>
                      <a:pt x="37" y="2"/>
                      <a:pt x="37" y="6"/>
                    </a:cubicBezTo>
                    <a:cubicBezTo>
                      <a:pt x="37" y="6"/>
                      <a:pt x="38" y="7"/>
                      <a:pt x="38" y="7"/>
                    </a:cubicBezTo>
                    <a:cubicBezTo>
                      <a:pt x="38" y="7"/>
                      <a:pt x="38" y="7"/>
                      <a:pt x="38" y="7"/>
                    </a:cubicBezTo>
                    <a:cubicBezTo>
                      <a:pt x="38" y="8"/>
                      <a:pt x="38" y="8"/>
                      <a:pt x="39" y="9"/>
                    </a:cubicBezTo>
                    <a:cubicBezTo>
                      <a:pt x="39" y="9"/>
                      <a:pt x="39" y="9"/>
                      <a:pt x="39" y="9"/>
                    </a:cubicBezTo>
                    <a:cubicBezTo>
                      <a:pt x="39" y="9"/>
                      <a:pt x="39" y="10"/>
                      <a:pt x="40" y="10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40" y="10"/>
                      <a:pt x="41" y="11"/>
                      <a:pt x="41" y="11"/>
                    </a:cubicBezTo>
                    <a:cubicBezTo>
                      <a:pt x="41" y="11"/>
                      <a:pt x="41" y="11"/>
                      <a:pt x="41" y="11"/>
                    </a:cubicBezTo>
                    <a:cubicBezTo>
                      <a:pt x="43" y="16"/>
                      <a:pt x="45" y="33"/>
                      <a:pt x="45" y="49"/>
                    </a:cubicBezTo>
                    <a:cubicBezTo>
                      <a:pt x="32" y="53"/>
                      <a:pt x="0" y="67"/>
                      <a:pt x="0" y="114"/>
                    </a:cubicBezTo>
                    <a:cubicBezTo>
                      <a:pt x="0" y="172"/>
                      <a:pt x="55" y="176"/>
                      <a:pt x="55" y="176"/>
                    </a:cubicBezTo>
                    <a:cubicBezTo>
                      <a:pt x="55" y="176"/>
                      <a:pt x="55" y="176"/>
                      <a:pt x="56" y="176"/>
                    </a:cubicBezTo>
                    <a:cubicBezTo>
                      <a:pt x="92" y="176"/>
                      <a:pt x="92" y="176"/>
                      <a:pt x="92" y="176"/>
                    </a:cubicBezTo>
                    <a:cubicBezTo>
                      <a:pt x="95" y="176"/>
                      <a:pt x="98" y="174"/>
                      <a:pt x="98" y="170"/>
                    </a:cubicBezTo>
                    <a:cubicBezTo>
                      <a:pt x="98" y="167"/>
                      <a:pt x="95" y="165"/>
                      <a:pt x="92" y="165"/>
                    </a:cubicBezTo>
                    <a:cubicBezTo>
                      <a:pt x="56" y="165"/>
                      <a:pt x="56" y="165"/>
                      <a:pt x="56" y="165"/>
                    </a:cubicBezTo>
                    <a:cubicBezTo>
                      <a:pt x="52" y="164"/>
                      <a:pt x="15" y="160"/>
                      <a:pt x="12" y="120"/>
                    </a:cubicBezTo>
                    <a:cubicBezTo>
                      <a:pt x="79" y="120"/>
                      <a:pt x="79" y="120"/>
                      <a:pt x="79" y="120"/>
                    </a:cubicBezTo>
                    <a:cubicBezTo>
                      <a:pt x="82" y="120"/>
                      <a:pt x="85" y="117"/>
                      <a:pt x="85" y="114"/>
                    </a:cubicBezTo>
                    <a:cubicBezTo>
                      <a:pt x="85" y="111"/>
                      <a:pt x="82" y="108"/>
                      <a:pt x="79" y="108"/>
                    </a:cubicBezTo>
                    <a:cubicBezTo>
                      <a:pt x="12" y="108"/>
                      <a:pt x="12" y="108"/>
                      <a:pt x="12" y="108"/>
                    </a:cubicBezTo>
                    <a:cubicBezTo>
                      <a:pt x="15" y="66"/>
                      <a:pt x="50" y="60"/>
                      <a:pt x="52" y="60"/>
                    </a:cubicBezTo>
                    <a:cubicBezTo>
                      <a:pt x="55" y="59"/>
                      <a:pt x="57" y="57"/>
                      <a:pt x="57" y="54"/>
                    </a:cubicBezTo>
                    <a:cubicBezTo>
                      <a:pt x="57" y="42"/>
                      <a:pt x="57" y="23"/>
                      <a:pt x="53" y="11"/>
                    </a:cubicBezTo>
                    <a:cubicBezTo>
                      <a:pt x="96" y="11"/>
                      <a:pt x="96" y="11"/>
                      <a:pt x="96" y="11"/>
                    </a:cubicBezTo>
                    <a:cubicBezTo>
                      <a:pt x="94" y="19"/>
                      <a:pt x="92" y="32"/>
                      <a:pt x="92" y="54"/>
                    </a:cubicBezTo>
                    <a:cubicBezTo>
                      <a:pt x="92" y="54"/>
                      <a:pt x="92" y="54"/>
                      <a:pt x="92" y="54"/>
                    </a:cubicBezTo>
                    <a:cubicBezTo>
                      <a:pt x="92" y="54"/>
                      <a:pt x="92" y="54"/>
                      <a:pt x="92" y="55"/>
                    </a:cubicBezTo>
                    <a:cubicBezTo>
                      <a:pt x="92" y="57"/>
                      <a:pt x="94" y="59"/>
                      <a:pt x="96" y="60"/>
                    </a:cubicBezTo>
                    <a:cubicBezTo>
                      <a:pt x="96" y="60"/>
                      <a:pt x="96" y="60"/>
                      <a:pt x="96" y="61"/>
                    </a:cubicBezTo>
                    <a:cubicBezTo>
                      <a:pt x="99" y="61"/>
                      <a:pt x="106" y="64"/>
                      <a:pt x="111" y="67"/>
                    </a:cubicBezTo>
                    <a:cubicBezTo>
                      <a:pt x="112" y="68"/>
                      <a:pt x="113" y="68"/>
                      <a:pt x="114" y="68"/>
                    </a:cubicBezTo>
                    <a:cubicBezTo>
                      <a:pt x="116" y="68"/>
                      <a:pt x="118" y="67"/>
                      <a:pt x="119" y="66"/>
                    </a:cubicBezTo>
                    <a:cubicBezTo>
                      <a:pt x="121" y="63"/>
                      <a:pt x="120" y="59"/>
                      <a:pt x="117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9" tIns="45709" rIns="91419" bIns="4570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FAD8F7C4-D0EA-2323-6F62-B5D8A3E2291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23" t="3532" r="2515" b="5634"/>
          <a:stretch/>
        </p:blipFill>
        <p:spPr>
          <a:xfrm>
            <a:off x="9654443" y="1938368"/>
            <a:ext cx="2395505" cy="481372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5CBCCFA-115A-BCDB-3980-ED46E012BC8F}"/>
              </a:ext>
            </a:extLst>
          </p:cNvPr>
          <p:cNvSpPr txBox="1"/>
          <p:nvPr/>
        </p:nvSpPr>
        <p:spPr>
          <a:xfrm>
            <a:off x="347985" y="2668216"/>
            <a:ext cx="9194310" cy="372178"/>
          </a:xfrm>
          <a:prstGeom prst="rect">
            <a:avLst/>
          </a:prstGeom>
          <a:solidFill>
            <a:srgbClr val="285082"/>
          </a:solidFill>
          <a:ln>
            <a:solidFill>
              <a:srgbClr val="285082"/>
            </a:solidFill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Calibri" panose="020F0502020204030204"/>
              </a:rPr>
              <a:t>Functionality and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atures include: 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094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39189"/>
            <a:ext cx="12192000" cy="914400"/>
          </a:xfrm>
        </p:spPr>
        <p:txBody>
          <a:bodyPr>
            <a:noAutofit/>
          </a:bodyPr>
          <a:lstStyle/>
          <a:p>
            <a:r>
              <a:rPr lang="en-GB" sz="2400" dirty="0"/>
              <a:t>The AHD Toolkit app will be also be customizable to national contex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0FD510-1741-C42B-01A1-C3AAE40F9B8C}"/>
              </a:ext>
            </a:extLst>
          </p:cNvPr>
          <p:cNvSpPr txBox="1"/>
          <p:nvPr/>
        </p:nvSpPr>
        <p:spPr>
          <a:xfrm>
            <a:off x="312338" y="1215003"/>
            <a:ext cx="8507907" cy="241604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91440" bIns="9144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ization of the AHD app is possible where a MOH seeks to further contextualize the app to its setting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y the customizing country will have access to the customized version  </a:t>
            </a:r>
          </a:p>
          <a:p>
            <a:pPr marL="285750" marR="0" lvl="0" indent="-285750" algn="l" defTabSz="914400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following aspects of the app can be customized:</a:t>
            </a:r>
          </a:p>
          <a:p>
            <a:pPr marL="742950" lvl="1" indent="-285750">
              <a:lnSpc>
                <a:spcPts val="21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</a:rPr>
              <a:t>Logo</a:t>
            </a:r>
          </a:p>
          <a:p>
            <a:pPr marL="742950" lvl="1" indent="-285750">
              <a:lnSpc>
                <a:spcPts val="21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ded local content (e.g., guidelines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B52EAD3-BA40-422F-3026-A3A7D567C9EB}"/>
              </a:ext>
            </a:extLst>
          </p:cNvPr>
          <p:cNvSpPr/>
          <p:nvPr/>
        </p:nvSpPr>
        <p:spPr>
          <a:xfrm>
            <a:off x="9000418" y="1210478"/>
            <a:ext cx="3048161" cy="52011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38FC85E-A535-93AD-20F9-2F2B4197F8E2}"/>
              </a:ext>
            </a:extLst>
          </p:cNvPr>
          <p:cNvGrpSpPr/>
          <p:nvPr/>
        </p:nvGrpSpPr>
        <p:grpSpPr>
          <a:xfrm>
            <a:off x="8639032" y="647985"/>
            <a:ext cx="3767373" cy="5485643"/>
            <a:chOff x="7119371" y="2050368"/>
            <a:chExt cx="2407567" cy="3402145"/>
          </a:xfrm>
        </p:grpSpPr>
        <p:sp>
          <p:nvSpPr>
            <p:cNvPr id="4" name="Flowchart: Sequential Access Storage 3">
              <a:extLst>
                <a:ext uri="{FF2B5EF4-FFF2-40B4-BE49-F238E27FC236}">
                  <a16:creationId xmlns:a16="http://schemas.microsoft.com/office/drawing/2014/main" id="{3A502C1D-953A-FB3C-7AB1-3F9F529B31ED}"/>
                </a:ext>
              </a:extLst>
            </p:cNvPr>
            <p:cNvSpPr/>
            <p:nvPr/>
          </p:nvSpPr>
          <p:spPr>
            <a:xfrm>
              <a:off x="7119371" y="2050368"/>
              <a:ext cx="2407567" cy="2737069"/>
            </a:xfrm>
            <a:prstGeom prst="flowChartMagneticTape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100" b="1" dirty="0">
                <a:solidFill>
                  <a:srgbClr val="4444C4"/>
                </a:solidFill>
                <a:latin typeface="Calibri" panose="020F0502020204030204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100" b="1" dirty="0">
                <a:solidFill>
                  <a:srgbClr val="4444C4"/>
                </a:solidFill>
                <a:latin typeface="Calibri" panose="020F0502020204030204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100" b="1" dirty="0">
                <a:solidFill>
                  <a:srgbClr val="4444C4"/>
                </a:solidFill>
                <a:latin typeface="Calibri" panose="020F0502020204030204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CD13472-1CB6-E352-82B9-4BA92601C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65443" y="3054069"/>
              <a:ext cx="1115041" cy="1115041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9AEB1BE-FFA6-00EA-DCC4-ABF765E6F8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65443" y="4337472"/>
              <a:ext cx="1115041" cy="1115041"/>
            </a:xfrm>
            <a:prstGeom prst="rect">
              <a:avLst/>
            </a:prstGeom>
          </p:spPr>
        </p:pic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360B24D8-01B8-0EB3-EE4A-FF955E09AABE}"/>
              </a:ext>
            </a:extLst>
          </p:cNvPr>
          <p:cNvSpPr txBox="1"/>
          <p:nvPr/>
        </p:nvSpPr>
        <p:spPr>
          <a:xfrm>
            <a:off x="8940042" y="2834354"/>
            <a:ext cx="94221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Google </a:t>
            </a:r>
          </a:p>
          <a:p>
            <a:pPr algn="ctr"/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y              </a:t>
            </a:r>
            <a:endParaRPr lang="en-US" sz="16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13070F1-A423-5117-120F-5611D85558FE}"/>
              </a:ext>
            </a:extLst>
          </p:cNvPr>
          <p:cNvSpPr txBox="1"/>
          <p:nvPr/>
        </p:nvSpPr>
        <p:spPr>
          <a:xfrm>
            <a:off x="8980985" y="4912860"/>
            <a:ext cx="94221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600" b="1" dirty="0">
                <a:solidFill>
                  <a:srgbClr val="4444C4"/>
                </a:solidFill>
                <a:latin typeface="Calibri" panose="020F0502020204030204"/>
              </a:rPr>
              <a:t>iOS </a:t>
            </a:r>
          </a:p>
          <a:p>
            <a:pPr algn="ctr"/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 store              </a:t>
            </a:r>
            <a:endParaRPr lang="en-US" sz="1600" dirty="0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36FDD93-27F4-1568-8877-EA4007E6113F}"/>
              </a:ext>
            </a:extLst>
          </p:cNvPr>
          <p:cNvSpPr txBox="1"/>
          <p:nvPr/>
        </p:nvSpPr>
        <p:spPr>
          <a:xfrm>
            <a:off x="8811565" y="1206928"/>
            <a:ext cx="33568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rch AHD Toolkit ap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app stor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444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download!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50C889AF-67C4-B6AE-8D33-43E3D80E8B44}"/>
              </a:ext>
            </a:extLst>
          </p:cNvPr>
          <p:cNvSpPr/>
          <p:nvPr/>
        </p:nvSpPr>
        <p:spPr>
          <a:xfrm>
            <a:off x="359732" y="3710891"/>
            <a:ext cx="4168629" cy="27007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The ‘Requests’ tab can be used to log a request for customization 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6889BA0D-4A0C-8063-5846-D26D5150917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1681" b="5572"/>
          <a:stretch/>
        </p:blipFill>
        <p:spPr>
          <a:xfrm>
            <a:off x="4680076" y="3710891"/>
            <a:ext cx="4131490" cy="2806077"/>
          </a:xfrm>
          <a:prstGeom prst="rect">
            <a:avLst/>
          </a:prstGeom>
        </p:spPr>
      </p:pic>
      <p:sp>
        <p:nvSpPr>
          <p:cNvPr id="75" name="Arrow: Right 74">
            <a:extLst>
              <a:ext uri="{FF2B5EF4-FFF2-40B4-BE49-F238E27FC236}">
                <a16:creationId xmlns:a16="http://schemas.microsoft.com/office/drawing/2014/main" id="{986F2D9F-07C5-7111-E462-B740FAD24C1E}"/>
              </a:ext>
            </a:extLst>
          </p:cNvPr>
          <p:cNvSpPr/>
          <p:nvPr/>
        </p:nvSpPr>
        <p:spPr>
          <a:xfrm rot="1286643">
            <a:off x="6138955" y="5549073"/>
            <a:ext cx="978408" cy="420252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9462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639F6D-4410-C438-6F1E-D571FA04E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VE DEMO!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CD3622E0-B339-B7DC-783B-E28F919F2238}"/>
              </a:ext>
            </a:extLst>
          </p:cNvPr>
          <p:cNvSpPr/>
          <p:nvPr/>
        </p:nvSpPr>
        <p:spPr>
          <a:xfrm>
            <a:off x="7361655" y="-13648"/>
            <a:ext cx="4830345" cy="68716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101C07A0-CEBF-1A4E-3529-423189F6F7BA}"/>
              </a:ext>
            </a:extLst>
          </p:cNvPr>
          <p:cNvGrpSpPr/>
          <p:nvPr/>
        </p:nvGrpSpPr>
        <p:grpSpPr>
          <a:xfrm>
            <a:off x="9232420" y="2752251"/>
            <a:ext cx="1088814" cy="979723"/>
            <a:chOff x="13782218" y="4410424"/>
            <a:chExt cx="803843" cy="584873"/>
          </a:xfrm>
        </p:grpSpPr>
        <p:sp>
          <p:nvSpPr>
            <p:cNvPr id="27" name="Freeform 157">
              <a:extLst>
                <a:ext uri="{FF2B5EF4-FFF2-40B4-BE49-F238E27FC236}">
                  <a16:creationId xmlns:a16="http://schemas.microsoft.com/office/drawing/2014/main" id="{C53D171C-39DE-BDC6-4C76-2DB9E80918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82218" y="4410424"/>
              <a:ext cx="803843" cy="412930"/>
            </a:xfrm>
            <a:custGeom>
              <a:avLst/>
              <a:gdLst>
                <a:gd name="T0" fmla="*/ 282 w 288"/>
                <a:gd name="T1" fmla="*/ 204 h 204"/>
                <a:gd name="T2" fmla="*/ 6 w 288"/>
                <a:gd name="T3" fmla="*/ 204 h 204"/>
                <a:gd name="T4" fmla="*/ 0 w 288"/>
                <a:gd name="T5" fmla="*/ 198 h 204"/>
                <a:gd name="T6" fmla="*/ 0 w 288"/>
                <a:gd name="T7" fmla="*/ 6 h 204"/>
                <a:gd name="T8" fmla="*/ 6 w 288"/>
                <a:gd name="T9" fmla="*/ 0 h 204"/>
                <a:gd name="T10" fmla="*/ 282 w 288"/>
                <a:gd name="T11" fmla="*/ 0 h 204"/>
                <a:gd name="T12" fmla="*/ 288 w 288"/>
                <a:gd name="T13" fmla="*/ 6 h 204"/>
                <a:gd name="T14" fmla="*/ 288 w 288"/>
                <a:gd name="T15" fmla="*/ 198 h 204"/>
                <a:gd name="T16" fmla="*/ 282 w 288"/>
                <a:gd name="T17" fmla="*/ 204 h 204"/>
                <a:gd name="T18" fmla="*/ 12 w 288"/>
                <a:gd name="T19" fmla="*/ 192 h 204"/>
                <a:gd name="T20" fmla="*/ 276 w 288"/>
                <a:gd name="T21" fmla="*/ 192 h 204"/>
                <a:gd name="T22" fmla="*/ 276 w 288"/>
                <a:gd name="T23" fmla="*/ 12 h 204"/>
                <a:gd name="T24" fmla="*/ 12 w 288"/>
                <a:gd name="T25" fmla="*/ 12 h 204"/>
                <a:gd name="T26" fmla="*/ 12 w 288"/>
                <a:gd name="T27" fmla="*/ 192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04">
                  <a:moveTo>
                    <a:pt x="282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198"/>
                    <a:pt x="288" y="198"/>
                    <a:pt x="288" y="198"/>
                  </a:cubicBezTo>
                  <a:cubicBezTo>
                    <a:pt x="288" y="201"/>
                    <a:pt x="285" y="204"/>
                    <a:pt x="282" y="204"/>
                  </a:cubicBezTo>
                  <a:close/>
                  <a:moveTo>
                    <a:pt x="12" y="192"/>
                  </a:moveTo>
                  <a:cubicBezTo>
                    <a:pt x="276" y="192"/>
                    <a:pt x="276" y="192"/>
                    <a:pt x="276" y="192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9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158">
              <a:extLst>
                <a:ext uri="{FF2B5EF4-FFF2-40B4-BE49-F238E27FC236}">
                  <a16:creationId xmlns:a16="http://schemas.microsoft.com/office/drawing/2014/main" id="{49A5E5E3-81D3-EB71-5C1E-4944BAAAA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51256" y="4798984"/>
              <a:ext cx="32884" cy="194957"/>
            </a:xfrm>
            <a:custGeom>
              <a:avLst/>
              <a:gdLst>
                <a:gd name="T0" fmla="*/ 6 w 12"/>
                <a:gd name="T1" fmla="*/ 96 h 96"/>
                <a:gd name="T2" fmla="*/ 0 w 12"/>
                <a:gd name="T3" fmla="*/ 90 h 96"/>
                <a:gd name="T4" fmla="*/ 0 w 12"/>
                <a:gd name="T5" fmla="*/ 6 h 96"/>
                <a:gd name="T6" fmla="*/ 6 w 12"/>
                <a:gd name="T7" fmla="*/ 0 h 96"/>
                <a:gd name="T8" fmla="*/ 12 w 12"/>
                <a:gd name="T9" fmla="*/ 6 h 96"/>
                <a:gd name="T10" fmla="*/ 12 w 12"/>
                <a:gd name="T11" fmla="*/ 90 h 96"/>
                <a:gd name="T12" fmla="*/ 6 w 12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6">
                  <a:moveTo>
                    <a:pt x="6" y="96"/>
                  </a:moveTo>
                  <a:cubicBezTo>
                    <a:pt x="3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3"/>
                    <a:pt x="9" y="96"/>
                    <a:pt x="6" y="9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159">
              <a:extLst>
                <a:ext uri="{FF2B5EF4-FFF2-40B4-BE49-F238E27FC236}">
                  <a16:creationId xmlns:a16="http://schemas.microsoft.com/office/drawing/2014/main" id="{904B2E35-BF23-5406-5B6E-7771C02A2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11928" y="4797632"/>
              <a:ext cx="509710" cy="197665"/>
            </a:xfrm>
            <a:custGeom>
              <a:avLst/>
              <a:gdLst>
                <a:gd name="T0" fmla="*/ 175 w 182"/>
                <a:gd name="T1" fmla="*/ 97 h 98"/>
                <a:gd name="T2" fmla="*/ 171 w 182"/>
                <a:gd name="T3" fmla="*/ 95 h 98"/>
                <a:gd name="T4" fmla="*/ 91 w 182"/>
                <a:gd name="T5" fmla="*/ 16 h 98"/>
                <a:gd name="T6" fmla="*/ 11 w 182"/>
                <a:gd name="T7" fmla="*/ 95 h 98"/>
                <a:gd name="T8" fmla="*/ 3 w 182"/>
                <a:gd name="T9" fmla="*/ 95 h 98"/>
                <a:gd name="T10" fmla="*/ 3 w 182"/>
                <a:gd name="T11" fmla="*/ 87 h 98"/>
                <a:gd name="T12" fmla="*/ 87 w 182"/>
                <a:gd name="T13" fmla="*/ 3 h 98"/>
                <a:gd name="T14" fmla="*/ 95 w 182"/>
                <a:gd name="T15" fmla="*/ 3 h 98"/>
                <a:gd name="T16" fmla="*/ 179 w 182"/>
                <a:gd name="T17" fmla="*/ 87 h 98"/>
                <a:gd name="T18" fmla="*/ 179 w 182"/>
                <a:gd name="T19" fmla="*/ 95 h 98"/>
                <a:gd name="T20" fmla="*/ 175 w 182"/>
                <a:gd name="T21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2" h="98">
                  <a:moveTo>
                    <a:pt x="175" y="97"/>
                  </a:moveTo>
                  <a:cubicBezTo>
                    <a:pt x="174" y="97"/>
                    <a:pt x="172" y="96"/>
                    <a:pt x="171" y="9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9" y="98"/>
                    <a:pt x="5" y="98"/>
                    <a:pt x="3" y="95"/>
                  </a:cubicBezTo>
                  <a:cubicBezTo>
                    <a:pt x="0" y="93"/>
                    <a:pt x="0" y="89"/>
                    <a:pt x="3" y="87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9" y="0"/>
                    <a:pt x="93" y="0"/>
                    <a:pt x="95" y="3"/>
                  </a:cubicBezTo>
                  <a:cubicBezTo>
                    <a:pt x="179" y="87"/>
                    <a:pt x="179" y="87"/>
                    <a:pt x="179" y="87"/>
                  </a:cubicBezTo>
                  <a:cubicBezTo>
                    <a:pt x="182" y="89"/>
                    <a:pt x="182" y="93"/>
                    <a:pt x="179" y="95"/>
                  </a:cubicBezTo>
                  <a:cubicBezTo>
                    <a:pt x="178" y="96"/>
                    <a:pt x="177" y="97"/>
                    <a:pt x="175" y="97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60">
              <a:extLst>
                <a:ext uri="{FF2B5EF4-FFF2-40B4-BE49-F238E27FC236}">
                  <a16:creationId xmlns:a16="http://schemas.microsoft.com/office/drawing/2014/main" id="{7E71708D-09CA-F95D-E79C-F4EC81388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82218" y="4507903"/>
              <a:ext cx="803843" cy="24369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74388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1454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HAI PST Template 2012 - blu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74</TotalTime>
  <Words>270</Words>
  <Application>Microsoft Office PowerPoint</Application>
  <PresentationFormat>Widescreen</PresentationFormat>
  <Paragraphs>58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entury Gothic</vt:lpstr>
      <vt:lpstr>Wingdings</vt:lpstr>
      <vt:lpstr>2_CHAI PST Template 2012 - blue</vt:lpstr>
      <vt:lpstr>think-cell Slide</vt:lpstr>
      <vt:lpstr>AHD Toolkit App</vt:lpstr>
      <vt:lpstr>With support from Unitaid, CHAI and the Infectious Diseases Institute Uganda developed a mobile application linked to the Global Advanced HIV Disease Toolkit (GAHDT) </vt:lpstr>
      <vt:lpstr>The AHD Toolkit app will be also be customizable to national contexts</vt:lpstr>
      <vt:lpstr>LIVE DEMO!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I and Infectious Diseases Institute of Uganda developed a mobile application for healthcare workers linked to the Global AHD Toolkit (GAHDT) to expand access to resources developed under the Optimal project</dc:title>
  <dc:creator>Rachel Sapire</dc:creator>
  <cp:lastModifiedBy>Syowai, Maureen</cp:lastModifiedBy>
  <cp:revision>4</cp:revision>
  <dcterms:created xsi:type="dcterms:W3CDTF">2023-10-26T00:11:52Z</dcterms:created>
  <dcterms:modified xsi:type="dcterms:W3CDTF">2023-11-04T21:15:41Z</dcterms:modified>
</cp:coreProperties>
</file>